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32" r:id="rId1"/>
    <p:sldMasterId id="2147483878" r:id="rId2"/>
    <p:sldMasterId id="2147484278" r:id="rId3"/>
    <p:sldMasterId id="2147484305" r:id="rId4"/>
    <p:sldMasterId id="2147484315" r:id="rId5"/>
    <p:sldMasterId id="2147484332" r:id="rId6"/>
  </p:sldMasterIdLst>
  <p:notesMasterIdLst>
    <p:notesMasterId r:id="rId42"/>
  </p:notesMasterIdLst>
  <p:handoutMasterIdLst>
    <p:handoutMasterId r:id="rId43"/>
  </p:handoutMasterIdLst>
  <p:sldIdLst>
    <p:sldId id="1734" r:id="rId7"/>
    <p:sldId id="1743" r:id="rId8"/>
    <p:sldId id="1742" r:id="rId9"/>
    <p:sldId id="1735" r:id="rId10"/>
    <p:sldId id="1568" r:id="rId11"/>
    <p:sldId id="1732" r:id="rId12"/>
    <p:sldId id="1613" r:id="rId13"/>
    <p:sldId id="1705" r:id="rId14"/>
    <p:sldId id="1706" r:id="rId15"/>
    <p:sldId id="1711" r:id="rId16"/>
    <p:sldId id="1709" r:id="rId17"/>
    <p:sldId id="1707" r:id="rId18"/>
    <p:sldId id="1717" r:id="rId19"/>
    <p:sldId id="1712" r:id="rId20"/>
    <p:sldId id="1713" r:id="rId21"/>
    <p:sldId id="1714" r:id="rId22"/>
    <p:sldId id="1718" r:id="rId23"/>
    <p:sldId id="1715" r:id="rId24"/>
    <p:sldId id="1720" r:id="rId25"/>
    <p:sldId id="1722" r:id="rId26"/>
    <p:sldId id="1744" r:id="rId27"/>
    <p:sldId id="1729" r:id="rId28"/>
    <p:sldId id="1731" r:id="rId29"/>
    <p:sldId id="1736" r:id="rId30"/>
    <p:sldId id="1739" r:id="rId31"/>
    <p:sldId id="1740" r:id="rId32"/>
    <p:sldId id="1745" r:id="rId33"/>
    <p:sldId id="1730" r:id="rId34"/>
    <p:sldId id="1737" r:id="rId35"/>
    <p:sldId id="1746" r:id="rId36"/>
    <p:sldId id="1749" r:id="rId37"/>
    <p:sldId id="1750" r:id="rId38"/>
    <p:sldId id="1751" r:id="rId39"/>
    <p:sldId id="1752" r:id="rId40"/>
    <p:sldId id="1753" r:id="rId41"/>
  </p:sldIdLst>
  <p:sldSz cx="9906000" cy="6858000" type="A4"/>
  <p:notesSz cx="6794500" cy="9931400"/>
  <p:defaultTextStyle>
    <a:defPPr>
      <a:defRPr lang="en-US"/>
    </a:defPPr>
    <a:lvl1pPr algn="l" rtl="0" eaLnBrk="0" fontAlgn="base" hangingPunct="0">
      <a:spcBef>
        <a:spcPct val="0"/>
      </a:spcBef>
      <a:spcAft>
        <a:spcPct val="0"/>
      </a:spcAft>
      <a:defRPr sz="1400" b="1" kern="1200">
        <a:solidFill>
          <a:srgbClr val="000000"/>
        </a:solidFill>
        <a:latin typeface="Arial" pitchFamily="34" charset="0"/>
        <a:ea typeface="맑은 고딕" pitchFamily="50" charset="-127"/>
        <a:cs typeface="+mn-cs"/>
      </a:defRPr>
    </a:lvl1pPr>
    <a:lvl2pPr marL="457200" algn="l" rtl="0" eaLnBrk="0" fontAlgn="base" hangingPunct="0">
      <a:spcBef>
        <a:spcPct val="0"/>
      </a:spcBef>
      <a:spcAft>
        <a:spcPct val="0"/>
      </a:spcAft>
      <a:defRPr sz="1400" b="1" kern="1200">
        <a:solidFill>
          <a:srgbClr val="000000"/>
        </a:solidFill>
        <a:latin typeface="Arial" pitchFamily="34" charset="0"/>
        <a:ea typeface="맑은 고딕" pitchFamily="50" charset="-127"/>
        <a:cs typeface="+mn-cs"/>
      </a:defRPr>
    </a:lvl2pPr>
    <a:lvl3pPr marL="914400" algn="l" rtl="0" eaLnBrk="0" fontAlgn="base" hangingPunct="0">
      <a:spcBef>
        <a:spcPct val="0"/>
      </a:spcBef>
      <a:spcAft>
        <a:spcPct val="0"/>
      </a:spcAft>
      <a:defRPr sz="1400" b="1" kern="1200">
        <a:solidFill>
          <a:srgbClr val="000000"/>
        </a:solidFill>
        <a:latin typeface="Arial" pitchFamily="34" charset="0"/>
        <a:ea typeface="맑은 고딕" pitchFamily="50" charset="-127"/>
        <a:cs typeface="+mn-cs"/>
      </a:defRPr>
    </a:lvl3pPr>
    <a:lvl4pPr marL="1371600" algn="l" rtl="0" eaLnBrk="0" fontAlgn="base" hangingPunct="0">
      <a:spcBef>
        <a:spcPct val="0"/>
      </a:spcBef>
      <a:spcAft>
        <a:spcPct val="0"/>
      </a:spcAft>
      <a:defRPr sz="1400" b="1" kern="1200">
        <a:solidFill>
          <a:srgbClr val="000000"/>
        </a:solidFill>
        <a:latin typeface="Arial" pitchFamily="34" charset="0"/>
        <a:ea typeface="맑은 고딕" pitchFamily="50" charset="-127"/>
        <a:cs typeface="+mn-cs"/>
      </a:defRPr>
    </a:lvl4pPr>
    <a:lvl5pPr marL="1828800" algn="l" rtl="0" eaLnBrk="0" fontAlgn="base" hangingPunct="0">
      <a:spcBef>
        <a:spcPct val="0"/>
      </a:spcBef>
      <a:spcAft>
        <a:spcPct val="0"/>
      </a:spcAft>
      <a:defRPr sz="1400" b="1" kern="1200">
        <a:solidFill>
          <a:srgbClr val="000000"/>
        </a:solidFill>
        <a:latin typeface="Arial" pitchFamily="34" charset="0"/>
        <a:ea typeface="맑은 고딕" pitchFamily="50" charset="-127"/>
        <a:cs typeface="+mn-cs"/>
      </a:defRPr>
    </a:lvl5pPr>
    <a:lvl6pPr marL="2286000" algn="l" defTabSz="914400" rtl="0" eaLnBrk="1" latinLnBrk="1" hangingPunct="1">
      <a:defRPr sz="1400" b="1" kern="1200">
        <a:solidFill>
          <a:srgbClr val="000000"/>
        </a:solidFill>
        <a:latin typeface="Arial" pitchFamily="34" charset="0"/>
        <a:ea typeface="맑은 고딕" pitchFamily="50" charset="-127"/>
        <a:cs typeface="+mn-cs"/>
      </a:defRPr>
    </a:lvl6pPr>
    <a:lvl7pPr marL="2743200" algn="l" defTabSz="914400" rtl="0" eaLnBrk="1" latinLnBrk="1" hangingPunct="1">
      <a:defRPr sz="1400" b="1" kern="1200">
        <a:solidFill>
          <a:srgbClr val="000000"/>
        </a:solidFill>
        <a:latin typeface="Arial" pitchFamily="34" charset="0"/>
        <a:ea typeface="맑은 고딕" pitchFamily="50" charset="-127"/>
        <a:cs typeface="+mn-cs"/>
      </a:defRPr>
    </a:lvl7pPr>
    <a:lvl8pPr marL="3200400" algn="l" defTabSz="914400" rtl="0" eaLnBrk="1" latinLnBrk="1" hangingPunct="1">
      <a:defRPr sz="1400" b="1" kern="1200">
        <a:solidFill>
          <a:srgbClr val="000000"/>
        </a:solidFill>
        <a:latin typeface="Arial" pitchFamily="34" charset="0"/>
        <a:ea typeface="맑은 고딕" pitchFamily="50" charset="-127"/>
        <a:cs typeface="+mn-cs"/>
      </a:defRPr>
    </a:lvl8pPr>
    <a:lvl9pPr marL="3657600" algn="l" defTabSz="914400" rtl="0" eaLnBrk="1" latinLnBrk="1" hangingPunct="1">
      <a:defRPr sz="1400" b="1" kern="1200">
        <a:solidFill>
          <a:srgbClr val="000000"/>
        </a:solidFill>
        <a:latin typeface="Arial" pitchFamily="34" charset="0"/>
        <a:ea typeface="맑은 고딕" pitchFamily="50" charset="-127"/>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66"/>
    <a:srgbClr val="A50021"/>
    <a:srgbClr val="EAEAEA"/>
    <a:srgbClr val="FFFF99"/>
    <a:srgbClr val="FFFFCC"/>
    <a:srgbClr val="DDDDDD"/>
    <a:srgbClr val="FFDA65"/>
    <a:srgbClr val="33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799" autoAdjust="0"/>
  </p:normalViewPr>
  <p:slideViewPr>
    <p:cSldViewPr snapToObjects="1">
      <p:cViewPr varScale="1">
        <p:scale>
          <a:sx n="92" d="100"/>
          <a:sy n="92" d="100"/>
        </p:scale>
        <p:origin x="-610" y="-96"/>
      </p:cViewPr>
      <p:guideLst>
        <p:guide orient="horz" pos="4142"/>
        <p:guide orient="horz" pos="317"/>
        <p:guide pos="211"/>
        <p:guide pos="6029"/>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11892"/>
    </p:cViewPr>
  </p:sorterViewPr>
  <p:notesViewPr>
    <p:cSldViewPr snapToObjects="1">
      <p:cViewPr varScale="1">
        <p:scale>
          <a:sx n="58" d="100"/>
          <a:sy n="58" d="100"/>
        </p:scale>
        <p:origin x="-2436" y="-90"/>
      </p:cViewPr>
      <p:guideLst>
        <p:guide orient="horz" pos="3128"/>
        <p:guide pos="2140"/>
      </p:guideLst>
    </p:cSldViewPr>
  </p:notesViewPr>
  <p:gridSpacing cx="45720" cy="4572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handoutMaster" Target="handoutMasters/handoutMaster1.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0" y="0"/>
            <a:ext cx="2943225" cy="495300"/>
          </a:xfrm>
          <a:prstGeom prst="rect">
            <a:avLst/>
          </a:prstGeom>
          <a:noFill/>
          <a:ln>
            <a:noFill/>
          </a:ln>
        </p:spPr>
        <p:txBody>
          <a:bodyPr vert="horz" wrap="square" lIns="92605" tIns="46303" rIns="92605" bIns="46303" numCol="1" anchor="t" anchorCtr="0" compatLnSpc="1">
            <a:prstTxWarp prst="textNoShape">
              <a:avLst/>
            </a:prstTxWarp>
          </a:bodyPr>
          <a:lstStyle>
            <a:lvl1pPr defTabSz="925513" eaLnBrk="1" hangingPunct="1">
              <a:defRPr sz="1200" b="0">
                <a:solidFill>
                  <a:schemeClr val="tx1"/>
                </a:solidFill>
                <a:latin typeface="Arial" panose="020B0604020202020204" pitchFamily="34" charset="0"/>
                <a:ea typeface="굴림" panose="020B0600000101010101" pitchFamily="50" charset="-127"/>
                <a:cs typeface="Arial" panose="020B0604020202020204" pitchFamily="34" charset="0"/>
              </a:defRPr>
            </a:lvl1pPr>
          </a:lstStyle>
          <a:p>
            <a:pPr>
              <a:defRPr/>
            </a:pPr>
            <a:endParaRPr lang="ko-KR" altLang="en-US"/>
          </a:p>
        </p:txBody>
      </p:sp>
      <p:sp>
        <p:nvSpPr>
          <p:cNvPr id="49155" name="Rectangle 3"/>
          <p:cNvSpPr>
            <a:spLocks noGrp="1" noChangeArrowheads="1"/>
          </p:cNvSpPr>
          <p:nvPr>
            <p:ph type="dt" sz="quarter" idx="1"/>
          </p:nvPr>
        </p:nvSpPr>
        <p:spPr bwMode="auto">
          <a:xfrm>
            <a:off x="3849688" y="0"/>
            <a:ext cx="2943225" cy="495300"/>
          </a:xfrm>
          <a:prstGeom prst="rect">
            <a:avLst/>
          </a:prstGeom>
          <a:noFill/>
          <a:ln>
            <a:noFill/>
          </a:ln>
        </p:spPr>
        <p:txBody>
          <a:bodyPr vert="horz" wrap="square" lIns="92605" tIns="46303" rIns="92605" bIns="46303" numCol="1" anchor="t" anchorCtr="0" compatLnSpc="1">
            <a:prstTxWarp prst="textNoShape">
              <a:avLst/>
            </a:prstTxWarp>
          </a:bodyPr>
          <a:lstStyle>
            <a:lvl1pPr algn="r" defTabSz="925513" eaLnBrk="1" hangingPunct="1">
              <a:defRPr sz="900" b="0">
                <a:solidFill>
                  <a:schemeClr val="tx1"/>
                </a:solidFill>
                <a:latin typeface="Arial" panose="020B0604020202020204" pitchFamily="34" charset="0"/>
                <a:ea typeface="굴림" panose="020B0600000101010101" pitchFamily="50" charset="-127"/>
                <a:cs typeface="Arial" panose="020B0604020202020204" pitchFamily="34" charset="0"/>
              </a:defRPr>
            </a:lvl1pPr>
          </a:lstStyle>
          <a:p>
            <a:pPr>
              <a:defRPr/>
            </a:pPr>
            <a:endParaRPr lang="ko-KR" altLang="en-US"/>
          </a:p>
        </p:txBody>
      </p:sp>
      <p:sp>
        <p:nvSpPr>
          <p:cNvPr id="49156" name="Rectangle 4"/>
          <p:cNvSpPr>
            <a:spLocks noGrp="1" noChangeArrowheads="1"/>
          </p:cNvSpPr>
          <p:nvPr>
            <p:ph type="ftr" sz="quarter" idx="2"/>
          </p:nvPr>
        </p:nvSpPr>
        <p:spPr bwMode="auto">
          <a:xfrm>
            <a:off x="0" y="9434513"/>
            <a:ext cx="2943225" cy="495300"/>
          </a:xfrm>
          <a:prstGeom prst="rect">
            <a:avLst/>
          </a:prstGeom>
          <a:noFill/>
          <a:ln>
            <a:noFill/>
          </a:ln>
        </p:spPr>
        <p:txBody>
          <a:bodyPr vert="horz" wrap="square" lIns="92605" tIns="46303" rIns="92605" bIns="46303" numCol="1" anchor="b" anchorCtr="0" compatLnSpc="1">
            <a:prstTxWarp prst="textNoShape">
              <a:avLst/>
            </a:prstTxWarp>
          </a:bodyPr>
          <a:lstStyle>
            <a:lvl1pPr defTabSz="925513" eaLnBrk="1" hangingPunct="1">
              <a:defRPr sz="900" b="0">
                <a:solidFill>
                  <a:schemeClr val="tx1"/>
                </a:solidFill>
                <a:latin typeface="Arial" panose="020B0604020202020204" pitchFamily="34" charset="0"/>
                <a:ea typeface="굴림" panose="020B0600000101010101" pitchFamily="50" charset="-127"/>
                <a:cs typeface="Arial" panose="020B0604020202020204" pitchFamily="34" charset="0"/>
              </a:defRPr>
            </a:lvl1pPr>
          </a:lstStyle>
          <a:p>
            <a:pPr>
              <a:defRPr/>
            </a:pPr>
            <a:r>
              <a:rPr lang="en-US" altLang="ko-KR"/>
              <a:t>IBM Confidential</a:t>
            </a:r>
          </a:p>
        </p:txBody>
      </p:sp>
      <p:sp>
        <p:nvSpPr>
          <p:cNvPr id="49157" name="Rectangle 5"/>
          <p:cNvSpPr>
            <a:spLocks noGrp="1" noChangeArrowheads="1"/>
          </p:cNvSpPr>
          <p:nvPr>
            <p:ph type="sldNum" sz="quarter" idx="3"/>
          </p:nvPr>
        </p:nvSpPr>
        <p:spPr bwMode="auto">
          <a:xfrm>
            <a:off x="3849688" y="9434513"/>
            <a:ext cx="2943225" cy="495300"/>
          </a:xfrm>
          <a:prstGeom prst="rect">
            <a:avLst/>
          </a:prstGeom>
          <a:noFill/>
          <a:ln>
            <a:noFill/>
          </a:ln>
        </p:spPr>
        <p:txBody>
          <a:bodyPr vert="horz" wrap="square" lIns="92605" tIns="46303" rIns="92605" bIns="46303" numCol="1" anchor="b" anchorCtr="0" compatLnSpc="1">
            <a:prstTxWarp prst="textNoShape">
              <a:avLst/>
            </a:prstTxWarp>
          </a:bodyPr>
          <a:lstStyle>
            <a:lvl1pPr algn="r" defTabSz="925513" eaLnBrk="1" hangingPunct="1">
              <a:defRPr sz="900" b="0">
                <a:solidFill>
                  <a:schemeClr val="tx1"/>
                </a:solidFill>
                <a:ea typeface="굴림" pitchFamily="50" charset="-127"/>
              </a:defRPr>
            </a:lvl1pPr>
          </a:lstStyle>
          <a:p>
            <a:fld id="{428D45E1-3966-4575-A764-3EABF536374A}" type="slidenum">
              <a:rPr lang="ko-KR" altLang="en-US"/>
              <a:pPr/>
              <a:t>‹#›</a:t>
            </a:fld>
            <a:endParaRPr lang="en-US" altLang="ko-KR"/>
          </a:p>
        </p:txBody>
      </p:sp>
    </p:spTree>
    <p:extLst>
      <p:ext uri="{BB962C8B-B14F-4D97-AF65-F5344CB8AC3E}">
        <p14:creationId xmlns:p14="http://schemas.microsoft.com/office/powerpoint/2010/main" val="123699463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hdr" sz="quarter"/>
          </p:nvPr>
        </p:nvSpPr>
        <p:spPr bwMode="auto">
          <a:xfrm>
            <a:off x="0" y="0"/>
            <a:ext cx="2943225" cy="495300"/>
          </a:xfrm>
          <a:prstGeom prst="rect">
            <a:avLst/>
          </a:prstGeom>
          <a:noFill/>
          <a:ln>
            <a:noFill/>
          </a:ln>
        </p:spPr>
        <p:txBody>
          <a:bodyPr vert="horz" wrap="square" lIns="92605" tIns="46303" rIns="92605" bIns="46303" numCol="1" anchor="t" anchorCtr="0" compatLnSpc="1">
            <a:prstTxWarp prst="textNoShape">
              <a:avLst/>
            </a:prstTxWarp>
          </a:bodyPr>
          <a:lstStyle>
            <a:lvl1pPr defTabSz="925513" eaLnBrk="1" hangingPunct="1">
              <a:defRPr sz="1000">
                <a:solidFill>
                  <a:schemeClr val="tx1"/>
                </a:solidFill>
                <a:latin typeface="Arial" panose="020B0604020202020204" pitchFamily="34" charset="0"/>
                <a:ea typeface="굴림" panose="020B0600000101010101" pitchFamily="50" charset="-127"/>
                <a:cs typeface="Arial" panose="020B0604020202020204" pitchFamily="34" charset="0"/>
              </a:defRPr>
            </a:lvl1pPr>
          </a:lstStyle>
          <a:p>
            <a:pPr>
              <a:defRPr/>
            </a:pPr>
            <a:endParaRPr lang="ko-KR" altLang="en-US"/>
          </a:p>
        </p:txBody>
      </p:sp>
      <p:sp>
        <p:nvSpPr>
          <p:cNvPr id="25603" name="Rectangle 3"/>
          <p:cNvSpPr>
            <a:spLocks noGrp="1" noChangeArrowheads="1"/>
          </p:cNvSpPr>
          <p:nvPr>
            <p:ph type="dt" idx="1"/>
          </p:nvPr>
        </p:nvSpPr>
        <p:spPr bwMode="auto">
          <a:xfrm>
            <a:off x="3849688" y="0"/>
            <a:ext cx="2943225" cy="495300"/>
          </a:xfrm>
          <a:prstGeom prst="rect">
            <a:avLst/>
          </a:prstGeom>
          <a:noFill/>
          <a:ln>
            <a:noFill/>
          </a:ln>
        </p:spPr>
        <p:txBody>
          <a:bodyPr vert="horz" wrap="square" lIns="92605" tIns="46303" rIns="92605" bIns="46303" numCol="1" anchor="t" anchorCtr="0" compatLnSpc="1">
            <a:prstTxWarp prst="textNoShape">
              <a:avLst/>
            </a:prstTxWarp>
          </a:bodyPr>
          <a:lstStyle>
            <a:lvl1pPr algn="r" defTabSz="925513" eaLnBrk="1" hangingPunct="1">
              <a:defRPr sz="900" b="0">
                <a:solidFill>
                  <a:schemeClr val="tx1"/>
                </a:solidFill>
                <a:latin typeface="Arial" panose="020B0604020202020204" pitchFamily="34" charset="0"/>
                <a:ea typeface="굴림" panose="020B0600000101010101" pitchFamily="50" charset="-127"/>
                <a:cs typeface="Arial" panose="020B0604020202020204" pitchFamily="34" charset="0"/>
              </a:defRPr>
            </a:lvl1pPr>
          </a:lstStyle>
          <a:p>
            <a:pPr>
              <a:defRPr/>
            </a:pPr>
            <a:endParaRPr lang="ko-KR" altLang="en-US"/>
          </a:p>
        </p:txBody>
      </p:sp>
      <p:sp>
        <p:nvSpPr>
          <p:cNvPr id="7172" name="Rectangle 4"/>
          <p:cNvSpPr>
            <a:spLocks noGrp="1" noRot="1" noChangeAspect="1" noChangeArrowheads="1" noTextEdit="1"/>
          </p:cNvSpPr>
          <p:nvPr>
            <p:ph type="sldImg" idx="2"/>
          </p:nvPr>
        </p:nvSpPr>
        <p:spPr bwMode="auto">
          <a:xfrm>
            <a:off x="708025" y="744538"/>
            <a:ext cx="5378450"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5" name="Rectangle 5"/>
          <p:cNvSpPr>
            <a:spLocks noGrp="1" noChangeArrowheads="1"/>
          </p:cNvSpPr>
          <p:nvPr>
            <p:ph type="body" sz="quarter" idx="3"/>
          </p:nvPr>
        </p:nvSpPr>
        <p:spPr bwMode="auto">
          <a:xfrm>
            <a:off x="677863" y="4718050"/>
            <a:ext cx="5438775" cy="4468813"/>
          </a:xfrm>
          <a:prstGeom prst="rect">
            <a:avLst/>
          </a:prstGeom>
          <a:noFill/>
          <a:ln>
            <a:noFill/>
          </a:ln>
        </p:spPr>
        <p:txBody>
          <a:bodyPr vert="horz" wrap="square" lIns="92605" tIns="46303" rIns="92605" bIns="46303"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606" name="Rectangle 6"/>
          <p:cNvSpPr>
            <a:spLocks noGrp="1" noChangeArrowheads="1"/>
          </p:cNvSpPr>
          <p:nvPr>
            <p:ph type="ftr" sz="quarter" idx="4"/>
          </p:nvPr>
        </p:nvSpPr>
        <p:spPr bwMode="auto">
          <a:xfrm>
            <a:off x="0" y="9434513"/>
            <a:ext cx="2943225" cy="495300"/>
          </a:xfrm>
          <a:prstGeom prst="rect">
            <a:avLst/>
          </a:prstGeom>
          <a:noFill/>
          <a:ln>
            <a:noFill/>
          </a:ln>
        </p:spPr>
        <p:txBody>
          <a:bodyPr vert="horz" wrap="square" lIns="92605" tIns="46303" rIns="92605" bIns="46303" numCol="1" anchor="b" anchorCtr="0" compatLnSpc="1">
            <a:prstTxWarp prst="textNoShape">
              <a:avLst/>
            </a:prstTxWarp>
          </a:bodyPr>
          <a:lstStyle>
            <a:lvl1pPr defTabSz="925513" eaLnBrk="1" hangingPunct="1">
              <a:defRPr sz="900" b="0">
                <a:solidFill>
                  <a:schemeClr val="tx1"/>
                </a:solidFill>
                <a:latin typeface="Arial" panose="020B0604020202020204" pitchFamily="34" charset="0"/>
                <a:ea typeface="굴림" panose="020B0600000101010101" pitchFamily="50" charset="-127"/>
                <a:cs typeface="Arial" panose="020B0604020202020204" pitchFamily="34" charset="0"/>
              </a:defRPr>
            </a:lvl1pPr>
          </a:lstStyle>
          <a:p>
            <a:pPr>
              <a:defRPr/>
            </a:pPr>
            <a:r>
              <a:rPr lang="en-US" altLang="ko-KR"/>
              <a:t>IBM Confidential</a:t>
            </a:r>
          </a:p>
        </p:txBody>
      </p:sp>
      <p:sp>
        <p:nvSpPr>
          <p:cNvPr id="25607" name="Rectangle 7"/>
          <p:cNvSpPr>
            <a:spLocks noGrp="1" noChangeArrowheads="1"/>
          </p:cNvSpPr>
          <p:nvPr>
            <p:ph type="sldNum" sz="quarter" idx="5"/>
          </p:nvPr>
        </p:nvSpPr>
        <p:spPr bwMode="auto">
          <a:xfrm>
            <a:off x="3849688" y="9434513"/>
            <a:ext cx="2943225" cy="495300"/>
          </a:xfrm>
          <a:prstGeom prst="rect">
            <a:avLst/>
          </a:prstGeom>
          <a:noFill/>
          <a:ln>
            <a:noFill/>
          </a:ln>
        </p:spPr>
        <p:txBody>
          <a:bodyPr vert="horz" wrap="square" lIns="92605" tIns="46303" rIns="92605" bIns="46303" numCol="1" anchor="b" anchorCtr="0" compatLnSpc="1">
            <a:prstTxWarp prst="textNoShape">
              <a:avLst/>
            </a:prstTxWarp>
          </a:bodyPr>
          <a:lstStyle>
            <a:lvl1pPr algn="r" defTabSz="925513" eaLnBrk="1" hangingPunct="1">
              <a:defRPr sz="900" b="0">
                <a:solidFill>
                  <a:schemeClr val="tx1"/>
                </a:solidFill>
                <a:ea typeface="굴림" pitchFamily="50" charset="-127"/>
              </a:defRPr>
            </a:lvl1pPr>
          </a:lstStyle>
          <a:p>
            <a:fld id="{978D71E1-B8E7-4AD8-B470-33328BD8CA97}" type="slidenum">
              <a:rPr lang="ko-KR" altLang="en-US"/>
              <a:pPr/>
              <a:t>‹#›</a:t>
            </a:fld>
            <a:endParaRPr lang="en-US" altLang="ko-KR"/>
          </a:p>
        </p:txBody>
      </p:sp>
    </p:spTree>
    <p:extLst>
      <p:ext uri="{BB962C8B-B14F-4D97-AF65-F5344CB8AC3E}">
        <p14:creationId xmlns:p14="http://schemas.microsoft.com/office/powerpoint/2010/main" val="1744017434"/>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b="1" kern="1200">
        <a:solidFill>
          <a:schemeClr val="tx1"/>
        </a:solidFill>
        <a:latin typeface="Arial" pitchFamily="-106" charset="0"/>
        <a:ea typeface="Arial" pitchFamily="-106" charset="0"/>
        <a:cs typeface="Arial" pitchFamily="-106" charset="0"/>
      </a:defRPr>
    </a:lvl1pPr>
    <a:lvl2pPr marL="457200" algn="l" rtl="0" eaLnBrk="0" fontAlgn="base" hangingPunct="0">
      <a:spcBef>
        <a:spcPct val="30000"/>
      </a:spcBef>
      <a:spcAft>
        <a:spcPct val="0"/>
      </a:spcAft>
      <a:defRPr sz="1200" kern="1200">
        <a:solidFill>
          <a:schemeClr val="tx1"/>
        </a:solidFill>
        <a:latin typeface="Arial" pitchFamily="-106" charset="0"/>
        <a:ea typeface="Arial" pitchFamily="-106" charset="0"/>
        <a:cs typeface="Arial" pitchFamily="-106" charset="0"/>
      </a:defRPr>
    </a:lvl2pPr>
    <a:lvl3pPr marL="914400" algn="l" rtl="0" eaLnBrk="0" fontAlgn="base" hangingPunct="0">
      <a:spcBef>
        <a:spcPct val="30000"/>
      </a:spcBef>
      <a:spcAft>
        <a:spcPct val="0"/>
      </a:spcAft>
      <a:defRPr sz="1000" kern="1200">
        <a:solidFill>
          <a:schemeClr val="tx1"/>
        </a:solidFill>
        <a:latin typeface="Arial" pitchFamily="-106" charset="0"/>
        <a:ea typeface="Arial" pitchFamily="-106" charset="0"/>
        <a:cs typeface="Arial" pitchFamily="-106" charset="0"/>
      </a:defRPr>
    </a:lvl3pPr>
    <a:lvl4pPr marL="1371600" algn="l" rtl="0" eaLnBrk="0" fontAlgn="base" hangingPunct="0">
      <a:spcBef>
        <a:spcPct val="30000"/>
      </a:spcBef>
      <a:spcAft>
        <a:spcPct val="0"/>
      </a:spcAft>
      <a:defRPr sz="900" kern="1200">
        <a:solidFill>
          <a:schemeClr val="tx1"/>
        </a:solidFill>
        <a:latin typeface="Arial" pitchFamily="-106" charset="0"/>
        <a:ea typeface="Arial" pitchFamily="-106" charset="0"/>
        <a:cs typeface="Arial" pitchFamily="-106" charset="0"/>
      </a:defRPr>
    </a:lvl4pPr>
    <a:lvl5pPr marL="1828800" algn="l" rtl="0" eaLnBrk="0" fontAlgn="base" hangingPunct="0">
      <a:spcBef>
        <a:spcPct val="30000"/>
      </a:spcBef>
      <a:spcAft>
        <a:spcPct val="0"/>
      </a:spcAft>
      <a:defRPr sz="800"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8025" y="744538"/>
            <a:ext cx="5378450"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98D0594-4E60-8F4B-8226-C705B94694A4}" type="slidenum">
              <a:rPr lang="en-US" smtClean="0">
                <a:solidFill>
                  <a:prstClr val="black"/>
                </a:solidFill>
                <a:latin typeface="맑은 고딕"/>
              </a:rPr>
              <a:pPr/>
              <a:t>1</a:t>
            </a:fld>
            <a:endParaRPr lang="en-US" dirty="0">
              <a:solidFill>
                <a:prstClr val="black"/>
              </a:solidFill>
              <a:latin typeface="맑은 고딕"/>
            </a:endParaRPr>
          </a:p>
        </p:txBody>
      </p:sp>
    </p:spTree>
    <p:extLst>
      <p:ext uri="{BB962C8B-B14F-4D97-AF65-F5344CB8AC3E}">
        <p14:creationId xmlns:p14="http://schemas.microsoft.com/office/powerpoint/2010/main" val="38842655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ChangeArrowheads="1" noTextEdit="1"/>
          </p:cNvSpPr>
          <p:nvPr>
            <p:ph type="sldImg"/>
          </p:nvPr>
        </p:nvSpPr>
        <p:spPr>
          <a:ln/>
        </p:spPr>
      </p:sp>
      <p:sp>
        <p:nvSpPr>
          <p:cNvPr id="22531"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ko-KR" altLang="en-US" smtClean="0">
              <a:latin typeface="Arial" pitchFamily="34" charset="0"/>
              <a:ea typeface="굴림" pitchFamily="50" charset="-127"/>
              <a:cs typeface="Arial" pitchFamily="34" charset="0"/>
            </a:endParaRPr>
          </a:p>
        </p:txBody>
      </p:sp>
      <p:sp>
        <p:nvSpPr>
          <p:cNvPr id="22532"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513">
              <a:defRPr sz="1400" b="1">
                <a:solidFill>
                  <a:srgbClr val="000000"/>
                </a:solidFill>
                <a:latin typeface="Arial" pitchFamily="34" charset="0"/>
                <a:ea typeface="맑은 고딕" pitchFamily="50" charset="-127"/>
              </a:defRPr>
            </a:lvl1pPr>
            <a:lvl2pPr marL="742950" indent="-285750" defTabSz="925513">
              <a:defRPr sz="1400" b="1">
                <a:solidFill>
                  <a:srgbClr val="000000"/>
                </a:solidFill>
                <a:latin typeface="Arial" pitchFamily="34" charset="0"/>
                <a:ea typeface="맑은 고딕" pitchFamily="50" charset="-127"/>
              </a:defRPr>
            </a:lvl2pPr>
            <a:lvl3pPr marL="1143000" indent="-228600" defTabSz="925513">
              <a:defRPr sz="1400" b="1">
                <a:solidFill>
                  <a:srgbClr val="000000"/>
                </a:solidFill>
                <a:latin typeface="Arial" pitchFamily="34" charset="0"/>
                <a:ea typeface="맑은 고딕" pitchFamily="50" charset="-127"/>
              </a:defRPr>
            </a:lvl3pPr>
            <a:lvl4pPr marL="1600200" indent="-228600" defTabSz="925513">
              <a:defRPr sz="1400" b="1">
                <a:solidFill>
                  <a:srgbClr val="000000"/>
                </a:solidFill>
                <a:latin typeface="Arial" pitchFamily="34" charset="0"/>
                <a:ea typeface="맑은 고딕" pitchFamily="50" charset="-127"/>
              </a:defRPr>
            </a:lvl4pPr>
            <a:lvl5pPr marL="2057400" indent="-228600" defTabSz="925513">
              <a:defRPr sz="1400" b="1">
                <a:solidFill>
                  <a:srgbClr val="000000"/>
                </a:solidFill>
                <a:latin typeface="Arial" pitchFamily="34" charset="0"/>
                <a:ea typeface="맑은 고딕" pitchFamily="50" charset="-127"/>
              </a:defRPr>
            </a:lvl5pPr>
            <a:lvl6pPr marL="25146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fld id="{2194E3D8-86A1-4159-8C7E-8ECE6AE6D2CE}" type="slidenum">
              <a:rPr lang="ko-KR" altLang="en-US" sz="1200" b="0">
                <a:solidFill>
                  <a:schemeClr val="tx1"/>
                </a:solidFill>
                <a:latin typeface="맑은 고딕" pitchFamily="50" charset="-127"/>
              </a:rPr>
              <a:pPr/>
              <a:t>33</a:t>
            </a:fld>
            <a:endParaRPr lang="en-US" altLang="ko-KR" sz="1200" b="0">
              <a:solidFill>
                <a:schemeClr val="tx1"/>
              </a:solidFill>
              <a:latin typeface="맑은 고딕" pitchFamily="50" charset="-127"/>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ChangeArrowheads="1" noTextEdit="1"/>
          </p:cNvSpPr>
          <p:nvPr>
            <p:ph type="sldImg"/>
          </p:nvPr>
        </p:nvSpPr>
        <p:spPr>
          <a:ln/>
        </p:spPr>
      </p:sp>
      <p:sp>
        <p:nvSpPr>
          <p:cNvPr id="22531"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ko-KR" altLang="en-US" smtClean="0">
              <a:latin typeface="Arial" pitchFamily="34" charset="0"/>
              <a:ea typeface="굴림" pitchFamily="50" charset="-127"/>
              <a:cs typeface="Arial" pitchFamily="34" charset="0"/>
            </a:endParaRPr>
          </a:p>
        </p:txBody>
      </p:sp>
      <p:sp>
        <p:nvSpPr>
          <p:cNvPr id="22532"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513">
              <a:defRPr sz="1400" b="1">
                <a:solidFill>
                  <a:srgbClr val="000000"/>
                </a:solidFill>
                <a:latin typeface="Arial" pitchFamily="34" charset="0"/>
                <a:ea typeface="맑은 고딕" pitchFamily="50" charset="-127"/>
              </a:defRPr>
            </a:lvl1pPr>
            <a:lvl2pPr marL="742950" indent="-285750" defTabSz="925513">
              <a:defRPr sz="1400" b="1">
                <a:solidFill>
                  <a:srgbClr val="000000"/>
                </a:solidFill>
                <a:latin typeface="Arial" pitchFamily="34" charset="0"/>
                <a:ea typeface="맑은 고딕" pitchFamily="50" charset="-127"/>
              </a:defRPr>
            </a:lvl2pPr>
            <a:lvl3pPr marL="1143000" indent="-228600" defTabSz="925513">
              <a:defRPr sz="1400" b="1">
                <a:solidFill>
                  <a:srgbClr val="000000"/>
                </a:solidFill>
                <a:latin typeface="Arial" pitchFamily="34" charset="0"/>
                <a:ea typeface="맑은 고딕" pitchFamily="50" charset="-127"/>
              </a:defRPr>
            </a:lvl3pPr>
            <a:lvl4pPr marL="1600200" indent="-228600" defTabSz="925513">
              <a:defRPr sz="1400" b="1">
                <a:solidFill>
                  <a:srgbClr val="000000"/>
                </a:solidFill>
                <a:latin typeface="Arial" pitchFamily="34" charset="0"/>
                <a:ea typeface="맑은 고딕" pitchFamily="50" charset="-127"/>
              </a:defRPr>
            </a:lvl4pPr>
            <a:lvl5pPr marL="2057400" indent="-228600" defTabSz="925513">
              <a:defRPr sz="1400" b="1">
                <a:solidFill>
                  <a:srgbClr val="000000"/>
                </a:solidFill>
                <a:latin typeface="Arial" pitchFamily="34" charset="0"/>
                <a:ea typeface="맑은 고딕" pitchFamily="50" charset="-127"/>
              </a:defRPr>
            </a:lvl5pPr>
            <a:lvl6pPr marL="25146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fld id="{2194E3D8-86A1-4159-8C7E-8ECE6AE6D2CE}" type="slidenum">
              <a:rPr lang="ko-KR" altLang="en-US" sz="1200" b="0">
                <a:solidFill>
                  <a:schemeClr val="tx1"/>
                </a:solidFill>
                <a:latin typeface="맑은 고딕" pitchFamily="50" charset="-127"/>
              </a:rPr>
              <a:pPr/>
              <a:t>35</a:t>
            </a:fld>
            <a:endParaRPr lang="en-US" altLang="ko-KR" sz="1200" b="0">
              <a:solidFill>
                <a:schemeClr val="tx1"/>
              </a:solidFill>
              <a:latin typeface="맑은 고딕" pitchFamily="50" charset="-127"/>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8025" y="744538"/>
            <a:ext cx="5378450" cy="3724275"/>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defTabSz="1097280">
              <a:defRPr/>
            </a:pPr>
            <a:fld id="{698D0594-4E60-8F4B-8226-C705B94694A4}" type="slidenum">
              <a:rPr lang="en-US" smtClean="0">
                <a:solidFill>
                  <a:prstClr val="black"/>
                </a:solidFill>
                <a:latin typeface="Arial Regular" charset="0"/>
              </a:rPr>
              <a:pPr defTabSz="1097280">
                <a:defRPr/>
              </a:pPr>
              <a:t>2</a:t>
            </a:fld>
            <a:endParaRPr lang="en-US" dirty="0">
              <a:solidFill>
                <a:prstClr val="black"/>
              </a:solidFill>
              <a:latin typeface="Arial Regular" charset="0"/>
            </a:endParaRPr>
          </a:p>
        </p:txBody>
      </p:sp>
    </p:spTree>
    <p:extLst>
      <p:ext uri="{BB962C8B-B14F-4D97-AF65-F5344CB8AC3E}">
        <p14:creationId xmlns:p14="http://schemas.microsoft.com/office/powerpoint/2010/main" val="4299966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8025" y="744538"/>
            <a:ext cx="5378450" cy="3724275"/>
          </a:xfrm>
        </p:spPr>
      </p:sp>
      <p:sp>
        <p:nvSpPr>
          <p:cNvPr id="3" name="Notes Placeholder 2"/>
          <p:cNvSpPr>
            <a:spLocks noGrp="1"/>
          </p:cNvSpPr>
          <p:nvPr>
            <p:ph type="body" idx="1"/>
          </p:nvPr>
        </p:nvSpPr>
        <p:spPr/>
        <p:txBody>
          <a:bodyPr/>
          <a:lstStyle/>
          <a:p>
            <a:r>
              <a:rPr lang="en-US" dirty="0"/>
              <a:t>We have characterized differences between visionary banks and traditional banks across eight specific dimensions: strategy, customers, innovation, operating model, partnering, investment, measurement, and regulation.</a:t>
            </a:r>
          </a:p>
          <a:p>
            <a:r>
              <a:rPr lang="en-US" b="1" dirty="0"/>
              <a:t>Strategy</a:t>
            </a:r>
            <a:r>
              <a:rPr lang="en-US" dirty="0"/>
              <a:t> </a:t>
            </a:r>
          </a:p>
          <a:p>
            <a:r>
              <a:rPr lang="en-US" dirty="0"/>
              <a:t>Compared to more traditional competitors, visionary banks almost unanimously share a philosophy that collective goals articulated through platform business models transcend the goals of individual organizations, yielding both intangible and tangible benefits. They believe that platforms enable the creation of products and services that would be impossible to create in a more traditional banking setting. </a:t>
            </a:r>
          </a:p>
          <a:p>
            <a:r>
              <a:rPr lang="en-US" dirty="0"/>
              <a:t>They also believe that adopting a platform business strategy means extending beyond a single platform. It involves diversification across multiple platforms, contributing to products and services in different contexts across different platforms. Visionary banks recognize that platforms are typically multisided, encompassing a range of providers. They understand that engagement in platforms encourages specialization so each individual organization can deliver the parts of products and services where it can create unique and significant value.</a:t>
            </a:r>
          </a:p>
          <a:p>
            <a:r>
              <a:rPr lang="en-US" b="1" dirty="0"/>
              <a:t>Customers</a:t>
            </a:r>
            <a:r>
              <a:rPr lang="en-US" dirty="0"/>
              <a:t> </a:t>
            </a:r>
          </a:p>
          <a:p>
            <a:r>
              <a:rPr lang="en-US" dirty="0"/>
              <a:t>Visionary banks typically have an existing loyal customer base. And unlike their more traditional banking peers, they see most value from platforms relating to engagement with completely new or different customers. They believe different customers may require different types of services, but the trust and confidence of customers remain crucial elements of any platform business model.   </a:t>
            </a:r>
          </a:p>
          <a:p>
            <a:r>
              <a:rPr lang="en-US" b="1" dirty="0"/>
              <a:t>Innovation</a:t>
            </a:r>
            <a:r>
              <a:rPr lang="en-US" dirty="0"/>
              <a:t> </a:t>
            </a:r>
          </a:p>
          <a:p>
            <a:r>
              <a:rPr lang="en-US" dirty="0"/>
              <a:t>Visionary banks believe engagement with partners across platforms should increase their commitment to innovation, especially relating to the search for new and more valuable product and service combinations. </a:t>
            </a:r>
          </a:p>
          <a:p>
            <a:r>
              <a:rPr lang="en-US" b="1" dirty="0"/>
              <a:t>Operating model</a:t>
            </a:r>
            <a:r>
              <a:rPr lang="en-US" dirty="0"/>
              <a:t> </a:t>
            </a:r>
          </a:p>
          <a:p>
            <a:r>
              <a:rPr lang="en-US" dirty="0"/>
              <a:t>Unlike traditional banks, visionary banks believe historical banking value chains and operating models are beginning to break down. They find platform engagement both enables and necessitates increased speed and agility. They understand the need to operate far beyond core banking activities by offering products and services from other industries as well. Visionary banks recognize the potential – and possibly even the necessity – to operate across entirely new geographies and deliver greater levels of transparency in pricing and other product or service attributes. </a:t>
            </a:r>
          </a:p>
          <a:p>
            <a:r>
              <a:rPr lang="en-US" b="1" dirty="0"/>
              <a:t>Partnering</a:t>
            </a:r>
            <a:r>
              <a:rPr lang="en-US" dirty="0"/>
              <a:t> </a:t>
            </a:r>
          </a:p>
          <a:p>
            <a:r>
              <a:rPr lang="en-US" dirty="0"/>
              <a:t>Compared to their traditional peers, visionary banks are significantly more likely to collaborate with academic institutions in addition to commercial organizations. They recognize that although partners are inevitably a highly diverse group, they need to be bound by a common strategic vision and a high level of trust based on shared values. If these elements exist, visionary banks understand how a joint opportunity could substantially outweigh commercial risks.</a:t>
            </a:r>
          </a:p>
          <a:p>
            <a:r>
              <a:rPr lang="en-US" b="1" dirty="0"/>
              <a:t>Investment</a:t>
            </a:r>
            <a:r>
              <a:rPr lang="en-US" dirty="0"/>
              <a:t> </a:t>
            </a:r>
          </a:p>
          <a:p>
            <a:r>
              <a:rPr lang="en-US" dirty="0"/>
              <a:t>For visionary banks, the credibility and reputation of a platform owner is key in determining whether to invest in new platform operating and business models. They believe investment in platforms should be highly customized and determined by the specific objectives and needs of each particular platform. </a:t>
            </a:r>
          </a:p>
          <a:p>
            <a:r>
              <a:rPr lang="en-US" b="1" dirty="0"/>
              <a:t>Measurement</a:t>
            </a:r>
            <a:r>
              <a:rPr lang="en-US" dirty="0"/>
              <a:t> </a:t>
            </a:r>
          </a:p>
          <a:p>
            <a:r>
              <a:rPr lang="en-US" dirty="0"/>
              <a:t>With the exception of risk, compliance, and social benefits, visionary banks see performance measurement quite differently from their more traditional peers. Executives from visionary banks tell us that new cross-industry platforms are set to fundamentally transform the way performance measurement is captured and reported – from measurement and mix of fixed and variable costs to measurement of revenue and profitability. </a:t>
            </a:r>
          </a:p>
          <a:p>
            <a:r>
              <a:rPr lang="en-US" b="1" dirty="0"/>
              <a:t>Regulation</a:t>
            </a:r>
            <a:r>
              <a:rPr lang="en-US" dirty="0"/>
              <a:t> </a:t>
            </a:r>
          </a:p>
          <a:p>
            <a:r>
              <a:rPr lang="en-US" dirty="0"/>
              <a:t>Leaders of visionary banks strongly believe that regulatory environments open to and supportive of innovation are essential to the successful development of new cross-industry platform business and operating models. But visionary bank leaders are also more likely to recognize that regulation is a two-way street. Not only do regulators need to allow innovation to flourish, they also need to respond to new types of business models and other commercial opportunities with appropriate new regulations. </a:t>
            </a:r>
          </a:p>
          <a:p>
            <a:endParaRPr lang="en-IN" dirty="0"/>
          </a:p>
        </p:txBody>
      </p:sp>
      <p:sp>
        <p:nvSpPr>
          <p:cNvPr id="4" name="Slide Number Placeholder 3"/>
          <p:cNvSpPr>
            <a:spLocks noGrp="1"/>
          </p:cNvSpPr>
          <p:nvPr>
            <p:ph type="sldNum" sz="quarter" idx="5"/>
          </p:nvPr>
        </p:nvSpPr>
        <p:spPr/>
        <p:txBody>
          <a:bodyPr/>
          <a:lstStyle/>
          <a:p>
            <a:fld id="{698D0594-4E60-8F4B-8226-C705B94694A4}" type="slidenum">
              <a:rPr lang="en-US" smtClean="0">
                <a:solidFill>
                  <a:prstClr val="black"/>
                </a:solidFill>
                <a:latin typeface="맑은 고딕"/>
              </a:rPr>
              <a:pPr/>
              <a:t>3</a:t>
            </a:fld>
            <a:endParaRPr lang="en-US" dirty="0">
              <a:solidFill>
                <a:prstClr val="black"/>
              </a:solidFill>
              <a:latin typeface="맑은 고딕"/>
            </a:endParaRPr>
          </a:p>
        </p:txBody>
      </p:sp>
    </p:spTree>
    <p:extLst>
      <p:ext uri="{BB962C8B-B14F-4D97-AF65-F5344CB8AC3E}">
        <p14:creationId xmlns:p14="http://schemas.microsoft.com/office/powerpoint/2010/main" val="1164438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ChangeArrowheads="1" noTextEdit="1"/>
          </p:cNvSpPr>
          <p:nvPr>
            <p:ph type="sldImg"/>
          </p:nvPr>
        </p:nvSpPr>
        <p:spPr>
          <a:ln/>
        </p:spPr>
      </p:sp>
      <p:sp>
        <p:nvSpPr>
          <p:cNvPr id="12291"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ko-KR" altLang="en-US" smtClean="0">
              <a:latin typeface="Arial" pitchFamily="34" charset="0"/>
              <a:ea typeface="굴림" pitchFamily="50" charset="-127"/>
              <a:cs typeface="Arial" pitchFamily="34" charset="0"/>
            </a:endParaRPr>
          </a:p>
        </p:txBody>
      </p:sp>
      <p:sp>
        <p:nvSpPr>
          <p:cNvPr id="12292" name="Footer Placeholder 3"/>
          <p:cNvSpPr>
            <a:spLocks noGrp="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513">
              <a:defRPr sz="1400" b="1">
                <a:solidFill>
                  <a:srgbClr val="000000"/>
                </a:solidFill>
                <a:latin typeface="Arial" pitchFamily="34" charset="0"/>
                <a:ea typeface="맑은 고딕" pitchFamily="50" charset="-127"/>
              </a:defRPr>
            </a:lvl1pPr>
            <a:lvl2pPr marL="742950" indent="-285750" defTabSz="925513">
              <a:defRPr sz="1400" b="1">
                <a:solidFill>
                  <a:srgbClr val="000000"/>
                </a:solidFill>
                <a:latin typeface="Arial" pitchFamily="34" charset="0"/>
                <a:ea typeface="맑은 고딕" pitchFamily="50" charset="-127"/>
              </a:defRPr>
            </a:lvl2pPr>
            <a:lvl3pPr marL="1143000" indent="-228600" defTabSz="925513">
              <a:defRPr sz="1400" b="1">
                <a:solidFill>
                  <a:srgbClr val="000000"/>
                </a:solidFill>
                <a:latin typeface="Arial" pitchFamily="34" charset="0"/>
                <a:ea typeface="맑은 고딕" pitchFamily="50" charset="-127"/>
              </a:defRPr>
            </a:lvl3pPr>
            <a:lvl4pPr marL="1600200" indent="-228600" defTabSz="925513">
              <a:defRPr sz="1400" b="1">
                <a:solidFill>
                  <a:srgbClr val="000000"/>
                </a:solidFill>
                <a:latin typeface="Arial" pitchFamily="34" charset="0"/>
                <a:ea typeface="맑은 고딕" pitchFamily="50" charset="-127"/>
              </a:defRPr>
            </a:lvl4pPr>
            <a:lvl5pPr marL="2057400" indent="-228600" defTabSz="925513">
              <a:defRPr sz="1400" b="1">
                <a:solidFill>
                  <a:srgbClr val="000000"/>
                </a:solidFill>
                <a:latin typeface="Arial" pitchFamily="34" charset="0"/>
                <a:ea typeface="맑은 고딕" pitchFamily="50" charset="-127"/>
              </a:defRPr>
            </a:lvl5pPr>
            <a:lvl6pPr marL="25146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r>
              <a:rPr lang="en-US" altLang="ko-KR" sz="900" b="0" smtClean="0">
                <a:solidFill>
                  <a:schemeClr val="tx1"/>
                </a:solidFill>
                <a:ea typeface="굴림" pitchFamily="50" charset="-127"/>
              </a:rPr>
              <a:t>IBM Confidential</a:t>
            </a:r>
          </a:p>
        </p:txBody>
      </p:sp>
      <p:sp>
        <p:nvSpPr>
          <p:cNvPr id="12293" name="Slide Number Placeholder 4"/>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513">
              <a:defRPr sz="1400" b="1">
                <a:solidFill>
                  <a:srgbClr val="000000"/>
                </a:solidFill>
                <a:latin typeface="Arial" pitchFamily="34" charset="0"/>
                <a:ea typeface="맑은 고딕" pitchFamily="50" charset="-127"/>
              </a:defRPr>
            </a:lvl1pPr>
            <a:lvl2pPr marL="742950" indent="-285750" defTabSz="925513">
              <a:defRPr sz="1400" b="1">
                <a:solidFill>
                  <a:srgbClr val="000000"/>
                </a:solidFill>
                <a:latin typeface="Arial" pitchFamily="34" charset="0"/>
                <a:ea typeface="맑은 고딕" pitchFamily="50" charset="-127"/>
              </a:defRPr>
            </a:lvl2pPr>
            <a:lvl3pPr marL="1143000" indent="-228600" defTabSz="925513">
              <a:defRPr sz="1400" b="1">
                <a:solidFill>
                  <a:srgbClr val="000000"/>
                </a:solidFill>
                <a:latin typeface="Arial" pitchFamily="34" charset="0"/>
                <a:ea typeface="맑은 고딕" pitchFamily="50" charset="-127"/>
              </a:defRPr>
            </a:lvl3pPr>
            <a:lvl4pPr marL="1600200" indent="-228600" defTabSz="925513">
              <a:defRPr sz="1400" b="1">
                <a:solidFill>
                  <a:srgbClr val="000000"/>
                </a:solidFill>
                <a:latin typeface="Arial" pitchFamily="34" charset="0"/>
                <a:ea typeface="맑은 고딕" pitchFamily="50" charset="-127"/>
              </a:defRPr>
            </a:lvl4pPr>
            <a:lvl5pPr marL="2057400" indent="-228600" defTabSz="925513">
              <a:defRPr sz="1400" b="1">
                <a:solidFill>
                  <a:srgbClr val="000000"/>
                </a:solidFill>
                <a:latin typeface="Arial" pitchFamily="34" charset="0"/>
                <a:ea typeface="맑은 고딕" pitchFamily="50" charset="-127"/>
              </a:defRPr>
            </a:lvl5pPr>
            <a:lvl6pPr marL="25146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fld id="{C2E16A2F-2B44-42BB-8FFB-956046AE201F}" type="slidenum">
              <a:rPr lang="ko-KR" altLang="en-US" sz="900" b="0">
                <a:solidFill>
                  <a:schemeClr val="tx1"/>
                </a:solidFill>
                <a:ea typeface="굴림" pitchFamily="50" charset="-127"/>
              </a:rPr>
              <a:pPr/>
              <a:t>5</a:t>
            </a:fld>
            <a:endParaRPr lang="en-US" altLang="ko-KR" sz="900" b="0">
              <a:solidFill>
                <a:schemeClr val="tx1"/>
              </a:solidFill>
              <a:ea typeface="굴림" pitchFamily="50" charset="-127"/>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ChangeArrowheads="1" noTextEdit="1"/>
          </p:cNvSpPr>
          <p:nvPr>
            <p:ph type="sldImg"/>
          </p:nvPr>
        </p:nvSpPr>
        <p:spPr>
          <a:ln/>
        </p:spPr>
      </p:sp>
      <p:sp>
        <p:nvSpPr>
          <p:cNvPr id="2048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ko-KR" altLang="en-US" smtClean="0">
              <a:latin typeface="Arial" pitchFamily="34" charset="0"/>
              <a:ea typeface="굴림" pitchFamily="50" charset="-127"/>
              <a:cs typeface="Arial" pitchFamily="34" charset="0"/>
            </a:endParaRPr>
          </a:p>
        </p:txBody>
      </p:sp>
      <p:sp>
        <p:nvSpPr>
          <p:cNvPr id="20484"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513">
              <a:defRPr sz="1400" b="1">
                <a:solidFill>
                  <a:srgbClr val="000000"/>
                </a:solidFill>
                <a:latin typeface="Arial" pitchFamily="34" charset="0"/>
                <a:ea typeface="맑은 고딕" pitchFamily="50" charset="-127"/>
              </a:defRPr>
            </a:lvl1pPr>
            <a:lvl2pPr marL="742950" indent="-285750" defTabSz="925513">
              <a:defRPr sz="1400" b="1">
                <a:solidFill>
                  <a:srgbClr val="000000"/>
                </a:solidFill>
                <a:latin typeface="Arial" pitchFamily="34" charset="0"/>
                <a:ea typeface="맑은 고딕" pitchFamily="50" charset="-127"/>
              </a:defRPr>
            </a:lvl2pPr>
            <a:lvl3pPr marL="1143000" indent="-228600" defTabSz="925513">
              <a:defRPr sz="1400" b="1">
                <a:solidFill>
                  <a:srgbClr val="000000"/>
                </a:solidFill>
                <a:latin typeface="Arial" pitchFamily="34" charset="0"/>
                <a:ea typeface="맑은 고딕" pitchFamily="50" charset="-127"/>
              </a:defRPr>
            </a:lvl3pPr>
            <a:lvl4pPr marL="1600200" indent="-228600" defTabSz="925513">
              <a:defRPr sz="1400" b="1">
                <a:solidFill>
                  <a:srgbClr val="000000"/>
                </a:solidFill>
                <a:latin typeface="Arial" pitchFamily="34" charset="0"/>
                <a:ea typeface="맑은 고딕" pitchFamily="50" charset="-127"/>
              </a:defRPr>
            </a:lvl4pPr>
            <a:lvl5pPr marL="2057400" indent="-228600" defTabSz="925513">
              <a:defRPr sz="1400" b="1">
                <a:solidFill>
                  <a:srgbClr val="000000"/>
                </a:solidFill>
                <a:latin typeface="Arial" pitchFamily="34" charset="0"/>
                <a:ea typeface="맑은 고딕" pitchFamily="50" charset="-127"/>
              </a:defRPr>
            </a:lvl5pPr>
            <a:lvl6pPr marL="25146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fld id="{E3FEBBEC-248F-4AEB-BFA1-42E4557EEAE6}" type="slidenum">
              <a:rPr lang="ko-KR" altLang="en-US" sz="1200" b="0">
                <a:solidFill>
                  <a:schemeClr val="tx1"/>
                </a:solidFill>
                <a:latin typeface="맑은 고딕" pitchFamily="50" charset="-127"/>
              </a:rPr>
              <a:pPr/>
              <a:t>6</a:t>
            </a:fld>
            <a:endParaRPr lang="en-US" altLang="ko-KR" sz="1200" b="0">
              <a:solidFill>
                <a:schemeClr val="tx1"/>
              </a:solidFill>
              <a:latin typeface="맑은 고딕" pitchFamily="50" charset="-127"/>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ChangeArrowheads="1" noTextEdit="1"/>
          </p:cNvSpPr>
          <p:nvPr>
            <p:ph type="sldImg"/>
          </p:nvPr>
        </p:nvSpPr>
        <p:spPr>
          <a:ln/>
        </p:spPr>
      </p:sp>
      <p:sp>
        <p:nvSpPr>
          <p:cNvPr id="2048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ko-KR" altLang="en-US" smtClean="0">
              <a:latin typeface="Arial" pitchFamily="34" charset="0"/>
              <a:ea typeface="굴림" pitchFamily="50" charset="-127"/>
              <a:cs typeface="Arial" pitchFamily="34" charset="0"/>
            </a:endParaRPr>
          </a:p>
        </p:txBody>
      </p:sp>
      <p:sp>
        <p:nvSpPr>
          <p:cNvPr id="20484"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513">
              <a:defRPr sz="1400" b="1">
                <a:solidFill>
                  <a:srgbClr val="000000"/>
                </a:solidFill>
                <a:latin typeface="Arial" pitchFamily="34" charset="0"/>
                <a:ea typeface="맑은 고딕" pitchFamily="50" charset="-127"/>
              </a:defRPr>
            </a:lvl1pPr>
            <a:lvl2pPr marL="742950" indent="-285750" defTabSz="925513">
              <a:defRPr sz="1400" b="1">
                <a:solidFill>
                  <a:srgbClr val="000000"/>
                </a:solidFill>
                <a:latin typeface="Arial" pitchFamily="34" charset="0"/>
                <a:ea typeface="맑은 고딕" pitchFamily="50" charset="-127"/>
              </a:defRPr>
            </a:lvl2pPr>
            <a:lvl3pPr marL="1143000" indent="-228600" defTabSz="925513">
              <a:defRPr sz="1400" b="1">
                <a:solidFill>
                  <a:srgbClr val="000000"/>
                </a:solidFill>
                <a:latin typeface="Arial" pitchFamily="34" charset="0"/>
                <a:ea typeface="맑은 고딕" pitchFamily="50" charset="-127"/>
              </a:defRPr>
            </a:lvl3pPr>
            <a:lvl4pPr marL="1600200" indent="-228600" defTabSz="925513">
              <a:defRPr sz="1400" b="1">
                <a:solidFill>
                  <a:srgbClr val="000000"/>
                </a:solidFill>
                <a:latin typeface="Arial" pitchFamily="34" charset="0"/>
                <a:ea typeface="맑은 고딕" pitchFamily="50" charset="-127"/>
              </a:defRPr>
            </a:lvl4pPr>
            <a:lvl5pPr marL="2057400" indent="-228600" defTabSz="925513">
              <a:defRPr sz="1400" b="1">
                <a:solidFill>
                  <a:srgbClr val="000000"/>
                </a:solidFill>
                <a:latin typeface="Arial" pitchFamily="34" charset="0"/>
                <a:ea typeface="맑은 고딕" pitchFamily="50" charset="-127"/>
              </a:defRPr>
            </a:lvl5pPr>
            <a:lvl6pPr marL="25146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fld id="{E3FEBBEC-248F-4AEB-BFA1-42E4557EEAE6}" type="slidenum">
              <a:rPr lang="ko-KR" altLang="en-US" sz="1200" b="0">
                <a:solidFill>
                  <a:schemeClr val="tx1"/>
                </a:solidFill>
                <a:latin typeface="맑은 고딕" pitchFamily="50" charset="-127"/>
              </a:rPr>
              <a:pPr/>
              <a:t>27</a:t>
            </a:fld>
            <a:endParaRPr lang="en-US" altLang="ko-KR" sz="1200" b="0">
              <a:solidFill>
                <a:schemeClr val="tx1"/>
              </a:solidFill>
              <a:latin typeface="맑은 고딕" pitchFamily="50" charset="-127"/>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ChangeArrowheads="1" noTextEdit="1"/>
          </p:cNvSpPr>
          <p:nvPr>
            <p:ph type="sldImg"/>
          </p:nvPr>
        </p:nvSpPr>
        <p:spPr>
          <a:ln/>
        </p:spPr>
      </p:sp>
      <p:sp>
        <p:nvSpPr>
          <p:cNvPr id="22531"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ko-KR" altLang="en-US" smtClean="0">
              <a:latin typeface="Arial" pitchFamily="34" charset="0"/>
              <a:ea typeface="굴림" pitchFamily="50" charset="-127"/>
              <a:cs typeface="Arial" pitchFamily="34" charset="0"/>
            </a:endParaRPr>
          </a:p>
        </p:txBody>
      </p:sp>
      <p:sp>
        <p:nvSpPr>
          <p:cNvPr id="22532"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513">
              <a:defRPr sz="1400" b="1">
                <a:solidFill>
                  <a:srgbClr val="000000"/>
                </a:solidFill>
                <a:latin typeface="Arial" pitchFamily="34" charset="0"/>
                <a:ea typeface="맑은 고딕" pitchFamily="50" charset="-127"/>
              </a:defRPr>
            </a:lvl1pPr>
            <a:lvl2pPr marL="742950" indent="-285750" defTabSz="925513">
              <a:defRPr sz="1400" b="1">
                <a:solidFill>
                  <a:srgbClr val="000000"/>
                </a:solidFill>
                <a:latin typeface="Arial" pitchFamily="34" charset="0"/>
                <a:ea typeface="맑은 고딕" pitchFamily="50" charset="-127"/>
              </a:defRPr>
            </a:lvl2pPr>
            <a:lvl3pPr marL="1143000" indent="-228600" defTabSz="925513">
              <a:defRPr sz="1400" b="1">
                <a:solidFill>
                  <a:srgbClr val="000000"/>
                </a:solidFill>
                <a:latin typeface="Arial" pitchFamily="34" charset="0"/>
                <a:ea typeface="맑은 고딕" pitchFamily="50" charset="-127"/>
              </a:defRPr>
            </a:lvl3pPr>
            <a:lvl4pPr marL="1600200" indent="-228600" defTabSz="925513">
              <a:defRPr sz="1400" b="1">
                <a:solidFill>
                  <a:srgbClr val="000000"/>
                </a:solidFill>
                <a:latin typeface="Arial" pitchFamily="34" charset="0"/>
                <a:ea typeface="맑은 고딕" pitchFamily="50" charset="-127"/>
              </a:defRPr>
            </a:lvl4pPr>
            <a:lvl5pPr marL="2057400" indent="-228600" defTabSz="925513">
              <a:defRPr sz="1400" b="1">
                <a:solidFill>
                  <a:srgbClr val="000000"/>
                </a:solidFill>
                <a:latin typeface="Arial" pitchFamily="34" charset="0"/>
                <a:ea typeface="맑은 고딕" pitchFamily="50" charset="-127"/>
              </a:defRPr>
            </a:lvl5pPr>
            <a:lvl6pPr marL="25146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fld id="{2194E3D8-86A1-4159-8C7E-8ECE6AE6D2CE}" type="slidenum">
              <a:rPr lang="ko-KR" altLang="en-US" sz="1200" b="0">
                <a:solidFill>
                  <a:schemeClr val="tx1"/>
                </a:solidFill>
                <a:latin typeface="맑은 고딕" pitchFamily="50" charset="-127"/>
              </a:rPr>
              <a:pPr/>
              <a:t>30</a:t>
            </a:fld>
            <a:endParaRPr lang="en-US" altLang="ko-KR" sz="1200" b="0">
              <a:solidFill>
                <a:schemeClr val="tx1"/>
              </a:solidFill>
              <a:latin typeface="맑은 고딕" pitchFamily="50" charset="-127"/>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ChangeArrowheads="1" noTextEdit="1"/>
          </p:cNvSpPr>
          <p:nvPr>
            <p:ph type="sldImg"/>
          </p:nvPr>
        </p:nvSpPr>
        <p:spPr>
          <a:ln/>
        </p:spPr>
      </p:sp>
      <p:sp>
        <p:nvSpPr>
          <p:cNvPr id="22531"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ko-KR" altLang="en-US" smtClean="0">
              <a:latin typeface="Arial" pitchFamily="34" charset="0"/>
              <a:ea typeface="굴림" pitchFamily="50" charset="-127"/>
              <a:cs typeface="Arial" pitchFamily="34" charset="0"/>
            </a:endParaRPr>
          </a:p>
        </p:txBody>
      </p:sp>
      <p:sp>
        <p:nvSpPr>
          <p:cNvPr id="22532"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513">
              <a:defRPr sz="1400" b="1">
                <a:solidFill>
                  <a:srgbClr val="000000"/>
                </a:solidFill>
                <a:latin typeface="Arial" pitchFamily="34" charset="0"/>
                <a:ea typeface="맑은 고딕" pitchFamily="50" charset="-127"/>
              </a:defRPr>
            </a:lvl1pPr>
            <a:lvl2pPr marL="742950" indent="-285750" defTabSz="925513">
              <a:defRPr sz="1400" b="1">
                <a:solidFill>
                  <a:srgbClr val="000000"/>
                </a:solidFill>
                <a:latin typeface="Arial" pitchFamily="34" charset="0"/>
                <a:ea typeface="맑은 고딕" pitchFamily="50" charset="-127"/>
              </a:defRPr>
            </a:lvl2pPr>
            <a:lvl3pPr marL="1143000" indent="-228600" defTabSz="925513">
              <a:defRPr sz="1400" b="1">
                <a:solidFill>
                  <a:srgbClr val="000000"/>
                </a:solidFill>
                <a:latin typeface="Arial" pitchFamily="34" charset="0"/>
                <a:ea typeface="맑은 고딕" pitchFamily="50" charset="-127"/>
              </a:defRPr>
            </a:lvl3pPr>
            <a:lvl4pPr marL="1600200" indent="-228600" defTabSz="925513">
              <a:defRPr sz="1400" b="1">
                <a:solidFill>
                  <a:srgbClr val="000000"/>
                </a:solidFill>
                <a:latin typeface="Arial" pitchFamily="34" charset="0"/>
                <a:ea typeface="맑은 고딕" pitchFamily="50" charset="-127"/>
              </a:defRPr>
            </a:lvl4pPr>
            <a:lvl5pPr marL="2057400" indent="-228600" defTabSz="925513">
              <a:defRPr sz="1400" b="1">
                <a:solidFill>
                  <a:srgbClr val="000000"/>
                </a:solidFill>
                <a:latin typeface="Arial" pitchFamily="34" charset="0"/>
                <a:ea typeface="맑은 고딕" pitchFamily="50" charset="-127"/>
              </a:defRPr>
            </a:lvl5pPr>
            <a:lvl6pPr marL="25146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fld id="{2194E3D8-86A1-4159-8C7E-8ECE6AE6D2CE}" type="slidenum">
              <a:rPr lang="ko-KR" altLang="en-US" sz="1200" b="0">
                <a:solidFill>
                  <a:schemeClr val="tx1"/>
                </a:solidFill>
                <a:latin typeface="맑은 고딕" pitchFamily="50" charset="-127"/>
              </a:rPr>
              <a:pPr/>
              <a:t>31</a:t>
            </a:fld>
            <a:endParaRPr lang="en-US" altLang="ko-KR" sz="1200" b="0">
              <a:solidFill>
                <a:schemeClr val="tx1"/>
              </a:solidFill>
              <a:latin typeface="맑은 고딕" pitchFamily="50" charset="-127"/>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ChangeArrowheads="1" noTextEdit="1"/>
          </p:cNvSpPr>
          <p:nvPr>
            <p:ph type="sldImg"/>
          </p:nvPr>
        </p:nvSpPr>
        <p:spPr>
          <a:ln/>
        </p:spPr>
      </p:sp>
      <p:sp>
        <p:nvSpPr>
          <p:cNvPr id="22531"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ko-KR" altLang="en-US" smtClean="0">
              <a:latin typeface="Arial" pitchFamily="34" charset="0"/>
              <a:ea typeface="굴림" pitchFamily="50" charset="-127"/>
              <a:cs typeface="Arial" pitchFamily="34" charset="0"/>
            </a:endParaRPr>
          </a:p>
        </p:txBody>
      </p:sp>
      <p:sp>
        <p:nvSpPr>
          <p:cNvPr id="22532"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513">
              <a:defRPr sz="1400" b="1">
                <a:solidFill>
                  <a:srgbClr val="000000"/>
                </a:solidFill>
                <a:latin typeface="Arial" pitchFamily="34" charset="0"/>
                <a:ea typeface="맑은 고딕" pitchFamily="50" charset="-127"/>
              </a:defRPr>
            </a:lvl1pPr>
            <a:lvl2pPr marL="742950" indent="-285750" defTabSz="925513">
              <a:defRPr sz="1400" b="1">
                <a:solidFill>
                  <a:srgbClr val="000000"/>
                </a:solidFill>
                <a:latin typeface="Arial" pitchFamily="34" charset="0"/>
                <a:ea typeface="맑은 고딕" pitchFamily="50" charset="-127"/>
              </a:defRPr>
            </a:lvl2pPr>
            <a:lvl3pPr marL="1143000" indent="-228600" defTabSz="925513">
              <a:defRPr sz="1400" b="1">
                <a:solidFill>
                  <a:srgbClr val="000000"/>
                </a:solidFill>
                <a:latin typeface="Arial" pitchFamily="34" charset="0"/>
                <a:ea typeface="맑은 고딕" pitchFamily="50" charset="-127"/>
              </a:defRPr>
            </a:lvl3pPr>
            <a:lvl4pPr marL="1600200" indent="-228600" defTabSz="925513">
              <a:defRPr sz="1400" b="1">
                <a:solidFill>
                  <a:srgbClr val="000000"/>
                </a:solidFill>
                <a:latin typeface="Arial" pitchFamily="34" charset="0"/>
                <a:ea typeface="맑은 고딕" pitchFamily="50" charset="-127"/>
              </a:defRPr>
            </a:lvl4pPr>
            <a:lvl5pPr marL="2057400" indent="-228600" defTabSz="925513">
              <a:defRPr sz="1400" b="1">
                <a:solidFill>
                  <a:srgbClr val="000000"/>
                </a:solidFill>
                <a:latin typeface="Arial" pitchFamily="34" charset="0"/>
                <a:ea typeface="맑은 고딕" pitchFamily="50" charset="-127"/>
              </a:defRPr>
            </a:lvl5pPr>
            <a:lvl6pPr marL="25146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defTabSz="925513"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fld id="{2194E3D8-86A1-4159-8C7E-8ECE6AE6D2CE}" type="slidenum">
              <a:rPr lang="ko-KR" altLang="en-US" sz="1200" b="0">
                <a:solidFill>
                  <a:schemeClr val="tx1"/>
                </a:solidFill>
                <a:latin typeface="맑은 고딕" pitchFamily="50" charset="-127"/>
              </a:rPr>
              <a:pPr/>
              <a:t>32</a:t>
            </a:fld>
            <a:endParaRPr lang="en-US" altLang="ko-KR" sz="1200" b="0">
              <a:solidFill>
                <a:schemeClr val="tx1"/>
              </a:solidFill>
              <a:latin typeface="맑은 고딕" pitchFamily="50" charset="-127"/>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4"/>
          <p:cNvSpPr>
            <a:spLocks noChangeShapeType="1"/>
          </p:cNvSpPr>
          <p:nvPr/>
        </p:nvSpPr>
        <p:spPr bwMode="auto">
          <a:xfrm flipV="1">
            <a:off x="319088" y="1323975"/>
            <a:ext cx="93122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ko-KR" altLang="en-US"/>
          </a:p>
        </p:txBody>
      </p:sp>
      <p:sp>
        <p:nvSpPr>
          <p:cNvPr id="8" name="Text Box 12"/>
          <p:cNvSpPr txBox="1">
            <a:spLocks noChangeArrowheads="1"/>
          </p:cNvSpPr>
          <p:nvPr/>
        </p:nvSpPr>
        <p:spPr bwMode="auto">
          <a:xfrm>
            <a:off x="198438" y="6173788"/>
            <a:ext cx="8915400" cy="336550"/>
          </a:xfrm>
          <a:prstGeom prst="rect">
            <a:avLst/>
          </a:prstGeom>
          <a:noFill/>
          <a:ln>
            <a:noFill/>
          </a:ln>
        </p:spPr>
        <p:txBody>
          <a:bodyPr>
            <a:spAutoFit/>
          </a:bodyPr>
          <a:lstStyle>
            <a:lvl1pPr>
              <a:defRPr sz="1400" b="1">
                <a:solidFill>
                  <a:srgbClr val="000000"/>
                </a:solidFill>
                <a:latin typeface="Arial" panose="020B0604020202020204" pitchFamily="34" charset="0"/>
                <a:ea typeface="맑은 고딕" panose="020B0503020000020004" pitchFamily="50" charset="-127"/>
              </a:defRPr>
            </a:lvl1pPr>
            <a:lvl2pPr marL="742950" indent="-285750">
              <a:defRPr sz="1400" b="1">
                <a:solidFill>
                  <a:srgbClr val="000000"/>
                </a:solidFill>
                <a:latin typeface="Arial" panose="020B0604020202020204" pitchFamily="34" charset="0"/>
                <a:ea typeface="맑은 고딕" panose="020B0503020000020004" pitchFamily="50" charset="-127"/>
              </a:defRPr>
            </a:lvl2pPr>
            <a:lvl3pPr marL="1143000" indent="-228600">
              <a:defRPr sz="1400" b="1">
                <a:solidFill>
                  <a:srgbClr val="000000"/>
                </a:solidFill>
                <a:latin typeface="Arial" panose="020B0604020202020204" pitchFamily="34" charset="0"/>
                <a:ea typeface="맑은 고딕" panose="020B0503020000020004" pitchFamily="50" charset="-127"/>
              </a:defRPr>
            </a:lvl3pPr>
            <a:lvl4pPr marL="1600200" indent="-228600">
              <a:defRPr sz="1400" b="1">
                <a:solidFill>
                  <a:srgbClr val="000000"/>
                </a:solidFill>
                <a:latin typeface="Arial" panose="020B0604020202020204" pitchFamily="34" charset="0"/>
                <a:ea typeface="맑은 고딕" panose="020B0503020000020004" pitchFamily="50" charset="-127"/>
              </a:defRPr>
            </a:lvl4pPr>
            <a:lvl5pPr marL="2057400" indent="-228600">
              <a:defRPr sz="1400" b="1">
                <a:solidFill>
                  <a:srgbClr val="000000"/>
                </a:solidFill>
                <a:latin typeface="Arial" panose="020B0604020202020204" pitchFamily="34" charset="0"/>
                <a:ea typeface="맑은 고딕" panose="020B0503020000020004" pitchFamily="50" charset="-127"/>
              </a:defRPr>
            </a:lvl5pPr>
            <a:lvl6pPr marL="25146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6pPr>
            <a:lvl7pPr marL="29718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7pPr>
            <a:lvl8pPr marL="34290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8pPr>
            <a:lvl9pPr marL="38862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9pPr>
          </a:lstStyle>
          <a:p>
            <a:pPr eaLnBrk="1" hangingPunct="1">
              <a:spcBef>
                <a:spcPct val="50000"/>
              </a:spcBef>
              <a:defRPr/>
            </a:pPr>
            <a:r>
              <a:rPr lang="en-US" altLang="ko-KR" sz="800" b="0" dirty="0">
                <a:solidFill>
                  <a:schemeClr val="tx1"/>
                </a:solidFill>
                <a:latin typeface="맑은 고딕" panose="020B0503020000020004" pitchFamily="50" charset="-127"/>
              </a:rPr>
              <a:t>This report is solely for the use of Client personnel. No part of it may be circulated, quoted, or reproduced for distribution outside the Client organization without prior written approval from IBM. This material was used by IBM during an oral presentation;  it is not a complete record of the discussion.</a:t>
            </a:r>
          </a:p>
        </p:txBody>
      </p:sp>
      <p:grpSp>
        <p:nvGrpSpPr>
          <p:cNvPr id="9" name="Group 5"/>
          <p:cNvGrpSpPr>
            <a:grpSpLocks/>
          </p:cNvGrpSpPr>
          <p:nvPr userDrawn="1"/>
        </p:nvGrpSpPr>
        <p:grpSpPr bwMode="auto">
          <a:xfrm>
            <a:off x="403225" y="3143250"/>
            <a:ext cx="9304338" cy="2608263"/>
            <a:chOff x="173" y="2309"/>
            <a:chExt cx="5414" cy="1407"/>
          </a:xfrm>
        </p:grpSpPr>
        <p:sp>
          <p:nvSpPr>
            <p:cNvPr id="10" name="Rectangle 6"/>
            <p:cNvSpPr>
              <a:spLocks noChangeArrowheads="1"/>
            </p:cNvSpPr>
            <p:nvPr/>
          </p:nvSpPr>
          <p:spPr bwMode="gray">
            <a:xfrm>
              <a:off x="173" y="2309"/>
              <a:ext cx="854" cy="290"/>
            </a:xfrm>
            <a:prstGeom prst="rect">
              <a:avLst/>
            </a:prstGeom>
            <a:solidFill>
              <a:srgbClr val="FEFFFE">
                <a:alpha val="49019"/>
              </a:srgbClr>
            </a:solidFill>
            <a:ln>
              <a:noFill/>
            </a:ln>
          </p:spPr>
          <p:txBody>
            <a:bodyPr wrap="none" anchor="ctr"/>
            <a:lstStyle>
              <a:lvl1pPr>
                <a:defRPr sz="1400" b="1">
                  <a:solidFill>
                    <a:srgbClr val="000000"/>
                  </a:solidFill>
                  <a:latin typeface="Arial" panose="020B0604020202020204" pitchFamily="34" charset="0"/>
                  <a:ea typeface="맑은 고딕" panose="020B0503020000020004" pitchFamily="50" charset="-127"/>
                </a:defRPr>
              </a:lvl1pPr>
              <a:lvl2pPr marL="742950" indent="-285750">
                <a:defRPr sz="1400" b="1">
                  <a:solidFill>
                    <a:srgbClr val="000000"/>
                  </a:solidFill>
                  <a:latin typeface="Arial" panose="020B0604020202020204" pitchFamily="34" charset="0"/>
                  <a:ea typeface="맑은 고딕" panose="020B0503020000020004" pitchFamily="50" charset="-127"/>
                </a:defRPr>
              </a:lvl2pPr>
              <a:lvl3pPr marL="1143000" indent="-228600">
                <a:defRPr sz="1400" b="1">
                  <a:solidFill>
                    <a:srgbClr val="000000"/>
                  </a:solidFill>
                  <a:latin typeface="Arial" panose="020B0604020202020204" pitchFamily="34" charset="0"/>
                  <a:ea typeface="맑은 고딕" panose="020B0503020000020004" pitchFamily="50" charset="-127"/>
                </a:defRPr>
              </a:lvl3pPr>
              <a:lvl4pPr marL="1600200" indent="-228600">
                <a:defRPr sz="1400" b="1">
                  <a:solidFill>
                    <a:srgbClr val="000000"/>
                  </a:solidFill>
                  <a:latin typeface="Arial" panose="020B0604020202020204" pitchFamily="34" charset="0"/>
                  <a:ea typeface="맑은 고딕" panose="020B0503020000020004" pitchFamily="50" charset="-127"/>
                </a:defRPr>
              </a:lvl4pPr>
              <a:lvl5pPr marL="2057400" indent="-228600">
                <a:defRPr sz="1400" b="1">
                  <a:solidFill>
                    <a:srgbClr val="000000"/>
                  </a:solidFill>
                  <a:latin typeface="Arial" panose="020B0604020202020204" pitchFamily="34" charset="0"/>
                  <a:ea typeface="맑은 고딕" panose="020B0503020000020004" pitchFamily="50" charset="-127"/>
                </a:defRPr>
              </a:lvl5pPr>
              <a:lvl6pPr marL="25146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6pPr>
              <a:lvl7pPr marL="29718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7pPr>
              <a:lvl8pPr marL="34290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8pPr>
              <a:lvl9pPr marL="38862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9pPr>
            </a:lstStyle>
            <a:p>
              <a:pPr algn="ctr" latinLnBrk="1">
                <a:spcBef>
                  <a:spcPct val="50000"/>
                </a:spcBef>
                <a:defRPr/>
              </a:pPr>
              <a:endParaRPr lang="ko-KR" altLang="en-US" sz="1200" b="0" dirty="0">
                <a:solidFill>
                  <a:schemeClr val="tx1"/>
                </a:solidFill>
                <a:latin typeface="맑은 고딕" panose="020B0503020000020004" pitchFamily="50" charset="-127"/>
              </a:endParaRPr>
            </a:p>
          </p:txBody>
        </p:sp>
        <p:sp>
          <p:nvSpPr>
            <p:cNvPr id="11" name="Rectangle 7"/>
            <p:cNvSpPr>
              <a:spLocks noChangeArrowheads="1"/>
            </p:cNvSpPr>
            <p:nvPr/>
          </p:nvSpPr>
          <p:spPr bwMode="gray">
            <a:xfrm>
              <a:off x="173" y="2866"/>
              <a:ext cx="854" cy="291"/>
            </a:xfrm>
            <a:prstGeom prst="rect">
              <a:avLst/>
            </a:prstGeom>
            <a:solidFill>
              <a:srgbClr val="FEFFFE">
                <a:alpha val="49019"/>
              </a:srgbClr>
            </a:solidFill>
            <a:ln>
              <a:noFill/>
            </a:ln>
          </p:spPr>
          <p:txBody>
            <a:bodyPr wrap="none" anchor="ctr"/>
            <a:lstStyle>
              <a:lvl1pPr>
                <a:defRPr sz="1400" b="1">
                  <a:solidFill>
                    <a:srgbClr val="000000"/>
                  </a:solidFill>
                  <a:latin typeface="Arial" panose="020B0604020202020204" pitchFamily="34" charset="0"/>
                  <a:ea typeface="맑은 고딕" panose="020B0503020000020004" pitchFamily="50" charset="-127"/>
                </a:defRPr>
              </a:lvl1pPr>
              <a:lvl2pPr marL="742950" indent="-285750">
                <a:defRPr sz="1400" b="1">
                  <a:solidFill>
                    <a:srgbClr val="000000"/>
                  </a:solidFill>
                  <a:latin typeface="Arial" panose="020B0604020202020204" pitchFamily="34" charset="0"/>
                  <a:ea typeface="맑은 고딕" panose="020B0503020000020004" pitchFamily="50" charset="-127"/>
                </a:defRPr>
              </a:lvl2pPr>
              <a:lvl3pPr marL="1143000" indent="-228600">
                <a:defRPr sz="1400" b="1">
                  <a:solidFill>
                    <a:srgbClr val="000000"/>
                  </a:solidFill>
                  <a:latin typeface="Arial" panose="020B0604020202020204" pitchFamily="34" charset="0"/>
                  <a:ea typeface="맑은 고딕" panose="020B0503020000020004" pitchFamily="50" charset="-127"/>
                </a:defRPr>
              </a:lvl3pPr>
              <a:lvl4pPr marL="1600200" indent="-228600">
                <a:defRPr sz="1400" b="1">
                  <a:solidFill>
                    <a:srgbClr val="000000"/>
                  </a:solidFill>
                  <a:latin typeface="Arial" panose="020B0604020202020204" pitchFamily="34" charset="0"/>
                  <a:ea typeface="맑은 고딕" panose="020B0503020000020004" pitchFamily="50" charset="-127"/>
                </a:defRPr>
              </a:lvl4pPr>
              <a:lvl5pPr marL="2057400" indent="-228600">
                <a:defRPr sz="1400" b="1">
                  <a:solidFill>
                    <a:srgbClr val="000000"/>
                  </a:solidFill>
                  <a:latin typeface="Arial" panose="020B0604020202020204" pitchFamily="34" charset="0"/>
                  <a:ea typeface="맑은 고딕" panose="020B0503020000020004" pitchFamily="50" charset="-127"/>
                </a:defRPr>
              </a:lvl5pPr>
              <a:lvl6pPr marL="25146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6pPr>
              <a:lvl7pPr marL="29718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7pPr>
              <a:lvl8pPr marL="34290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8pPr>
              <a:lvl9pPr marL="38862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9pPr>
            </a:lstStyle>
            <a:p>
              <a:pPr algn="ctr" latinLnBrk="1">
                <a:spcBef>
                  <a:spcPct val="50000"/>
                </a:spcBef>
                <a:defRPr/>
              </a:pPr>
              <a:endParaRPr lang="ko-KR" altLang="en-US" sz="1200" b="0" dirty="0">
                <a:solidFill>
                  <a:schemeClr val="tx1"/>
                </a:solidFill>
                <a:latin typeface="맑은 고딕" panose="020B0503020000020004" pitchFamily="50" charset="-127"/>
              </a:endParaRPr>
            </a:p>
          </p:txBody>
        </p:sp>
        <p:sp>
          <p:nvSpPr>
            <p:cNvPr id="12" name="Rectangle 8"/>
            <p:cNvSpPr>
              <a:spLocks noChangeArrowheads="1"/>
            </p:cNvSpPr>
            <p:nvPr/>
          </p:nvSpPr>
          <p:spPr bwMode="gray">
            <a:xfrm>
              <a:off x="173" y="3426"/>
              <a:ext cx="268" cy="290"/>
            </a:xfrm>
            <a:prstGeom prst="rect">
              <a:avLst/>
            </a:prstGeom>
            <a:solidFill>
              <a:srgbClr val="FEFFFE">
                <a:alpha val="49019"/>
              </a:srgbClr>
            </a:solidFill>
            <a:ln>
              <a:noFill/>
            </a:ln>
          </p:spPr>
          <p:txBody>
            <a:bodyPr wrap="none" anchor="ctr"/>
            <a:lstStyle>
              <a:lvl1pPr>
                <a:defRPr sz="1400" b="1">
                  <a:solidFill>
                    <a:srgbClr val="000000"/>
                  </a:solidFill>
                  <a:latin typeface="Arial" panose="020B0604020202020204" pitchFamily="34" charset="0"/>
                  <a:ea typeface="맑은 고딕" panose="020B0503020000020004" pitchFamily="50" charset="-127"/>
                </a:defRPr>
              </a:lvl1pPr>
              <a:lvl2pPr marL="742950" indent="-285750">
                <a:defRPr sz="1400" b="1">
                  <a:solidFill>
                    <a:srgbClr val="000000"/>
                  </a:solidFill>
                  <a:latin typeface="Arial" panose="020B0604020202020204" pitchFamily="34" charset="0"/>
                  <a:ea typeface="맑은 고딕" panose="020B0503020000020004" pitchFamily="50" charset="-127"/>
                </a:defRPr>
              </a:lvl2pPr>
              <a:lvl3pPr marL="1143000" indent="-228600">
                <a:defRPr sz="1400" b="1">
                  <a:solidFill>
                    <a:srgbClr val="000000"/>
                  </a:solidFill>
                  <a:latin typeface="Arial" panose="020B0604020202020204" pitchFamily="34" charset="0"/>
                  <a:ea typeface="맑은 고딕" panose="020B0503020000020004" pitchFamily="50" charset="-127"/>
                </a:defRPr>
              </a:lvl3pPr>
              <a:lvl4pPr marL="1600200" indent="-228600">
                <a:defRPr sz="1400" b="1">
                  <a:solidFill>
                    <a:srgbClr val="000000"/>
                  </a:solidFill>
                  <a:latin typeface="Arial" panose="020B0604020202020204" pitchFamily="34" charset="0"/>
                  <a:ea typeface="맑은 고딕" panose="020B0503020000020004" pitchFamily="50" charset="-127"/>
                </a:defRPr>
              </a:lvl4pPr>
              <a:lvl5pPr marL="2057400" indent="-228600">
                <a:defRPr sz="1400" b="1">
                  <a:solidFill>
                    <a:srgbClr val="000000"/>
                  </a:solidFill>
                  <a:latin typeface="Arial" panose="020B0604020202020204" pitchFamily="34" charset="0"/>
                  <a:ea typeface="맑은 고딕" panose="020B0503020000020004" pitchFamily="50" charset="-127"/>
                </a:defRPr>
              </a:lvl5pPr>
              <a:lvl6pPr marL="25146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6pPr>
              <a:lvl7pPr marL="29718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7pPr>
              <a:lvl8pPr marL="34290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8pPr>
              <a:lvl9pPr marL="38862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9pPr>
            </a:lstStyle>
            <a:p>
              <a:pPr algn="ctr" latinLnBrk="1">
                <a:spcBef>
                  <a:spcPct val="50000"/>
                </a:spcBef>
                <a:defRPr/>
              </a:pPr>
              <a:endParaRPr lang="ko-KR" altLang="en-US" sz="1200" b="0" dirty="0">
                <a:solidFill>
                  <a:schemeClr val="tx1"/>
                </a:solidFill>
                <a:latin typeface="맑은 고딕" panose="020B0503020000020004" pitchFamily="50" charset="-127"/>
              </a:endParaRPr>
            </a:p>
          </p:txBody>
        </p:sp>
        <p:sp>
          <p:nvSpPr>
            <p:cNvPr id="13" name="Rectangle 9"/>
            <p:cNvSpPr>
              <a:spLocks noChangeArrowheads="1"/>
            </p:cNvSpPr>
            <p:nvPr/>
          </p:nvSpPr>
          <p:spPr bwMode="gray">
            <a:xfrm>
              <a:off x="4733" y="2309"/>
              <a:ext cx="854" cy="290"/>
            </a:xfrm>
            <a:prstGeom prst="rect">
              <a:avLst/>
            </a:prstGeom>
            <a:solidFill>
              <a:srgbClr val="FEFFFE">
                <a:alpha val="49019"/>
              </a:srgbClr>
            </a:solidFill>
            <a:ln>
              <a:noFill/>
            </a:ln>
          </p:spPr>
          <p:txBody>
            <a:bodyPr wrap="none" anchor="ctr"/>
            <a:lstStyle>
              <a:lvl1pPr>
                <a:defRPr sz="1400" b="1">
                  <a:solidFill>
                    <a:srgbClr val="000000"/>
                  </a:solidFill>
                  <a:latin typeface="Arial" panose="020B0604020202020204" pitchFamily="34" charset="0"/>
                  <a:ea typeface="맑은 고딕" panose="020B0503020000020004" pitchFamily="50" charset="-127"/>
                </a:defRPr>
              </a:lvl1pPr>
              <a:lvl2pPr marL="742950" indent="-285750">
                <a:defRPr sz="1400" b="1">
                  <a:solidFill>
                    <a:srgbClr val="000000"/>
                  </a:solidFill>
                  <a:latin typeface="Arial" panose="020B0604020202020204" pitchFamily="34" charset="0"/>
                  <a:ea typeface="맑은 고딕" panose="020B0503020000020004" pitchFamily="50" charset="-127"/>
                </a:defRPr>
              </a:lvl2pPr>
              <a:lvl3pPr marL="1143000" indent="-228600">
                <a:defRPr sz="1400" b="1">
                  <a:solidFill>
                    <a:srgbClr val="000000"/>
                  </a:solidFill>
                  <a:latin typeface="Arial" panose="020B0604020202020204" pitchFamily="34" charset="0"/>
                  <a:ea typeface="맑은 고딕" panose="020B0503020000020004" pitchFamily="50" charset="-127"/>
                </a:defRPr>
              </a:lvl3pPr>
              <a:lvl4pPr marL="1600200" indent="-228600">
                <a:defRPr sz="1400" b="1">
                  <a:solidFill>
                    <a:srgbClr val="000000"/>
                  </a:solidFill>
                  <a:latin typeface="Arial" panose="020B0604020202020204" pitchFamily="34" charset="0"/>
                  <a:ea typeface="맑은 고딕" panose="020B0503020000020004" pitchFamily="50" charset="-127"/>
                </a:defRPr>
              </a:lvl4pPr>
              <a:lvl5pPr marL="2057400" indent="-228600">
                <a:defRPr sz="1400" b="1">
                  <a:solidFill>
                    <a:srgbClr val="000000"/>
                  </a:solidFill>
                  <a:latin typeface="Arial" panose="020B0604020202020204" pitchFamily="34" charset="0"/>
                  <a:ea typeface="맑은 고딕" panose="020B0503020000020004" pitchFamily="50" charset="-127"/>
                </a:defRPr>
              </a:lvl5pPr>
              <a:lvl6pPr marL="25146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6pPr>
              <a:lvl7pPr marL="29718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7pPr>
              <a:lvl8pPr marL="34290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8pPr>
              <a:lvl9pPr marL="38862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9pPr>
            </a:lstStyle>
            <a:p>
              <a:pPr algn="ctr" latinLnBrk="1">
                <a:spcBef>
                  <a:spcPct val="50000"/>
                </a:spcBef>
                <a:defRPr/>
              </a:pPr>
              <a:endParaRPr lang="ko-KR" altLang="en-US" sz="1200" b="0" dirty="0">
                <a:solidFill>
                  <a:schemeClr val="tx1"/>
                </a:solidFill>
                <a:latin typeface="맑은 고딕" panose="020B0503020000020004" pitchFamily="50" charset="-127"/>
              </a:endParaRPr>
            </a:p>
          </p:txBody>
        </p:sp>
        <p:sp>
          <p:nvSpPr>
            <p:cNvPr id="14" name="Rectangle 10"/>
            <p:cNvSpPr>
              <a:spLocks noChangeArrowheads="1"/>
            </p:cNvSpPr>
            <p:nvPr/>
          </p:nvSpPr>
          <p:spPr bwMode="gray">
            <a:xfrm>
              <a:off x="4733" y="2866"/>
              <a:ext cx="854" cy="291"/>
            </a:xfrm>
            <a:prstGeom prst="rect">
              <a:avLst/>
            </a:prstGeom>
            <a:solidFill>
              <a:srgbClr val="FEFFFE">
                <a:alpha val="49019"/>
              </a:srgbClr>
            </a:solidFill>
            <a:ln>
              <a:noFill/>
            </a:ln>
          </p:spPr>
          <p:txBody>
            <a:bodyPr wrap="none" anchor="ctr"/>
            <a:lstStyle>
              <a:lvl1pPr>
                <a:defRPr sz="1400" b="1">
                  <a:solidFill>
                    <a:srgbClr val="000000"/>
                  </a:solidFill>
                  <a:latin typeface="Arial" panose="020B0604020202020204" pitchFamily="34" charset="0"/>
                  <a:ea typeface="맑은 고딕" panose="020B0503020000020004" pitchFamily="50" charset="-127"/>
                </a:defRPr>
              </a:lvl1pPr>
              <a:lvl2pPr marL="742950" indent="-285750">
                <a:defRPr sz="1400" b="1">
                  <a:solidFill>
                    <a:srgbClr val="000000"/>
                  </a:solidFill>
                  <a:latin typeface="Arial" panose="020B0604020202020204" pitchFamily="34" charset="0"/>
                  <a:ea typeface="맑은 고딕" panose="020B0503020000020004" pitchFamily="50" charset="-127"/>
                </a:defRPr>
              </a:lvl2pPr>
              <a:lvl3pPr marL="1143000" indent="-228600">
                <a:defRPr sz="1400" b="1">
                  <a:solidFill>
                    <a:srgbClr val="000000"/>
                  </a:solidFill>
                  <a:latin typeface="Arial" panose="020B0604020202020204" pitchFamily="34" charset="0"/>
                  <a:ea typeface="맑은 고딕" panose="020B0503020000020004" pitchFamily="50" charset="-127"/>
                </a:defRPr>
              </a:lvl3pPr>
              <a:lvl4pPr marL="1600200" indent="-228600">
                <a:defRPr sz="1400" b="1">
                  <a:solidFill>
                    <a:srgbClr val="000000"/>
                  </a:solidFill>
                  <a:latin typeface="Arial" panose="020B0604020202020204" pitchFamily="34" charset="0"/>
                  <a:ea typeface="맑은 고딕" panose="020B0503020000020004" pitchFamily="50" charset="-127"/>
                </a:defRPr>
              </a:lvl4pPr>
              <a:lvl5pPr marL="2057400" indent="-228600">
                <a:defRPr sz="1400" b="1">
                  <a:solidFill>
                    <a:srgbClr val="000000"/>
                  </a:solidFill>
                  <a:latin typeface="Arial" panose="020B0604020202020204" pitchFamily="34" charset="0"/>
                  <a:ea typeface="맑은 고딕" panose="020B0503020000020004" pitchFamily="50" charset="-127"/>
                </a:defRPr>
              </a:lvl5pPr>
              <a:lvl6pPr marL="25146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6pPr>
              <a:lvl7pPr marL="29718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7pPr>
              <a:lvl8pPr marL="34290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8pPr>
              <a:lvl9pPr marL="38862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9pPr>
            </a:lstStyle>
            <a:p>
              <a:pPr algn="ctr" latinLnBrk="1">
                <a:spcBef>
                  <a:spcPct val="50000"/>
                </a:spcBef>
                <a:defRPr/>
              </a:pPr>
              <a:endParaRPr lang="ko-KR" altLang="en-US" sz="1200" b="0" dirty="0">
                <a:solidFill>
                  <a:schemeClr val="tx1"/>
                </a:solidFill>
                <a:latin typeface="맑은 고딕" panose="020B0503020000020004" pitchFamily="50" charset="-127"/>
              </a:endParaRPr>
            </a:p>
          </p:txBody>
        </p:sp>
        <p:sp>
          <p:nvSpPr>
            <p:cNvPr id="15" name="Rectangle 11"/>
            <p:cNvSpPr>
              <a:spLocks noChangeArrowheads="1"/>
            </p:cNvSpPr>
            <p:nvPr/>
          </p:nvSpPr>
          <p:spPr bwMode="gray">
            <a:xfrm>
              <a:off x="5319" y="3426"/>
              <a:ext cx="268" cy="290"/>
            </a:xfrm>
            <a:prstGeom prst="rect">
              <a:avLst/>
            </a:prstGeom>
            <a:solidFill>
              <a:srgbClr val="FEFFFE">
                <a:alpha val="49019"/>
              </a:srgbClr>
            </a:solidFill>
            <a:ln>
              <a:noFill/>
            </a:ln>
          </p:spPr>
          <p:txBody>
            <a:bodyPr wrap="none" anchor="ctr"/>
            <a:lstStyle>
              <a:lvl1pPr>
                <a:defRPr sz="1400" b="1">
                  <a:solidFill>
                    <a:srgbClr val="000000"/>
                  </a:solidFill>
                  <a:latin typeface="Arial" panose="020B0604020202020204" pitchFamily="34" charset="0"/>
                  <a:ea typeface="맑은 고딕" panose="020B0503020000020004" pitchFamily="50" charset="-127"/>
                </a:defRPr>
              </a:lvl1pPr>
              <a:lvl2pPr marL="742950" indent="-285750">
                <a:defRPr sz="1400" b="1">
                  <a:solidFill>
                    <a:srgbClr val="000000"/>
                  </a:solidFill>
                  <a:latin typeface="Arial" panose="020B0604020202020204" pitchFamily="34" charset="0"/>
                  <a:ea typeface="맑은 고딕" panose="020B0503020000020004" pitchFamily="50" charset="-127"/>
                </a:defRPr>
              </a:lvl2pPr>
              <a:lvl3pPr marL="1143000" indent="-228600">
                <a:defRPr sz="1400" b="1">
                  <a:solidFill>
                    <a:srgbClr val="000000"/>
                  </a:solidFill>
                  <a:latin typeface="Arial" panose="020B0604020202020204" pitchFamily="34" charset="0"/>
                  <a:ea typeface="맑은 고딕" panose="020B0503020000020004" pitchFamily="50" charset="-127"/>
                </a:defRPr>
              </a:lvl3pPr>
              <a:lvl4pPr marL="1600200" indent="-228600">
                <a:defRPr sz="1400" b="1">
                  <a:solidFill>
                    <a:srgbClr val="000000"/>
                  </a:solidFill>
                  <a:latin typeface="Arial" panose="020B0604020202020204" pitchFamily="34" charset="0"/>
                  <a:ea typeface="맑은 고딕" panose="020B0503020000020004" pitchFamily="50" charset="-127"/>
                </a:defRPr>
              </a:lvl4pPr>
              <a:lvl5pPr marL="2057400" indent="-228600">
                <a:defRPr sz="1400" b="1">
                  <a:solidFill>
                    <a:srgbClr val="000000"/>
                  </a:solidFill>
                  <a:latin typeface="Arial" panose="020B0604020202020204" pitchFamily="34" charset="0"/>
                  <a:ea typeface="맑은 고딕" panose="020B0503020000020004" pitchFamily="50" charset="-127"/>
                </a:defRPr>
              </a:lvl5pPr>
              <a:lvl6pPr marL="25146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6pPr>
              <a:lvl7pPr marL="29718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7pPr>
              <a:lvl8pPr marL="34290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8pPr>
              <a:lvl9pPr marL="38862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9pPr>
            </a:lstStyle>
            <a:p>
              <a:pPr algn="ctr" latinLnBrk="1">
                <a:spcBef>
                  <a:spcPct val="50000"/>
                </a:spcBef>
                <a:defRPr/>
              </a:pPr>
              <a:endParaRPr lang="ko-KR" altLang="en-US" sz="1200" b="0" dirty="0">
                <a:solidFill>
                  <a:schemeClr val="tx1"/>
                </a:solidFill>
                <a:latin typeface="맑은 고딕" panose="020B0503020000020004" pitchFamily="50" charset="-127"/>
              </a:endParaRPr>
            </a:p>
          </p:txBody>
        </p:sp>
        <p:sp>
          <p:nvSpPr>
            <p:cNvPr id="16" name="Freeform 12"/>
            <p:cNvSpPr>
              <a:spLocks/>
            </p:cNvSpPr>
            <p:nvPr/>
          </p:nvSpPr>
          <p:spPr bwMode="gray">
            <a:xfrm>
              <a:off x="1313" y="2309"/>
              <a:ext cx="2850" cy="290"/>
            </a:xfrm>
            <a:custGeom>
              <a:avLst/>
              <a:gdLst>
                <a:gd name="T0" fmla="*/ 0 w 2880"/>
                <a:gd name="T1" fmla="*/ 0 h 288"/>
                <a:gd name="T2" fmla="*/ 0 w 2880"/>
                <a:gd name="T3" fmla="*/ 294 h 288"/>
                <a:gd name="T4" fmla="*/ 2791 w 2880"/>
                <a:gd name="T5" fmla="*/ 294 h 288"/>
                <a:gd name="T6" fmla="*/ 2750 w 2880"/>
                <a:gd name="T7" fmla="*/ 262 h 288"/>
                <a:gd name="T8" fmla="*/ 2578 w 2880"/>
                <a:gd name="T9" fmla="*/ 137 h 288"/>
                <a:gd name="T10" fmla="*/ 2355 w 2880"/>
                <a:gd name="T11" fmla="*/ 46 h 288"/>
                <a:gd name="T12" fmla="*/ 2161 w 2880"/>
                <a:gd name="T13" fmla="*/ 10 h 288"/>
                <a:gd name="T14" fmla="*/ 2046 w 2880"/>
                <a:gd name="T15" fmla="*/ 0 h 288"/>
                <a:gd name="T16" fmla="*/ 0 w 2880"/>
                <a:gd name="T17" fmla="*/ 0 h 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80"/>
                <a:gd name="T28" fmla="*/ 0 h 288"/>
                <a:gd name="T29" fmla="*/ 2880 w 2880"/>
                <a:gd name="T30" fmla="*/ 288 h 2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80" h="288">
                  <a:moveTo>
                    <a:pt x="0" y="0"/>
                  </a:moveTo>
                  <a:lnTo>
                    <a:pt x="0" y="288"/>
                  </a:lnTo>
                  <a:lnTo>
                    <a:pt x="2880" y="288"/>
                  </a:lnTo>
                  <a:lnTo>
                    <a:pt x="2838" y="256"/>
                  </a:lnTo>
                  <a:cubicBezTo>
                    <a:pt x="2838" y="256"/>
                    <a:pt x="2728" y="169"/>
                    <a:pt x="2660" y="134"/>
                  </a:cubicBezTo>
                  <a:cubicBezTo>
                    <a:pt x="2592" y="99"/>
                    <a:pt x="2502" y="67"/>
                    <a:pt x="2430" y="46"/>
                  </a:cubicBezTo>
                  <a:cubicBezTo>
                    <a:pt x="2358" y="25"/>
                    <a:pt x="2283" y="18"/>
                    <a:pt x="2230" y="10"/>
                  </a:cubicBezTo>
                  <a:lnTo>
                    <a:pt x="2112" y="0"/>
                  </a:lnTo>
                  <a:lnTo>
                    <a:pt x="0" y="0"/>
                  </a:lnTo>
                  <a:close/>
                </a:path>
              </a:pathLst>
            </a:custGeom>
            <a:solidFill>
              <a:srgbClr val="FEFFFE">
                <a:alpha val="49019"/>
              </a:srgbClr>
            </a:solidFill>
            <a:ln>
              <a:noFill/>
            </a:ln>
          </p:spPr>
          <p:txBody>
            <a:bodyPr wrap="none" anchor="ctr"/>
            <a:lstStyle>
              <a:lvl1pPr>
                <a:defRPr sz="1200">
                  <a:solidFill>
                    <a:schemeClr val="tx1"/>
                  </a:solidFill>
                  <a:latin typeface="Arial" panose="020B0604020202020204" pitchFamily="34" charset="0"/>
                  <a:cs typeface="Arial" panose="020B0604020202020204" pitchFamily="34" charset="0"/>
                </a:defRPr>
              </a:lvl1pPr>
              <a:lvl2pPr marL="742950" indent="-285750">
                <a:defRPr sz="1200">
                  <a:solidFill>
                    <a:schemeClr val="tx1"/>
                  </a:solidFill>
                  <a:latin typeface="Arial" panose="020B0604020202020204" pitchFamily="34" charset="0"/>
                  <a:cs typeface="Arial" panose="020B0604020202020204" pitchFamily="34" charset="0"/>
                </a:defRPr>
              </a:lvl2pPr>
              <a:lvl3pPr marL="1143000" indent="-228600">
                <a:defRPr sz="1200">
                  <a:solidFill>
                    <a:schemeClr val="tx1"/>
                  </a:solidFill>
                  <a:latin typeface="Arial" panose="020B0604020202020204" pitchFamily="34" charset="0"/>
                  <a:cs typeface="Arial" panose="020B0604020202020204" pitchFamily="34" charset="0"/>
                </a:defRPr>
              </a:lvl3pPr>
              <a:lvl4pPr marL="1600200" indent="-228600">
                <a:defRPr sz="1200">
                  <a:solidFill>
                    <a:schemeClr val="tx1"/>
                  </a:solidFill>
                  <a:latin typeface="Arial" panose="020B0604020202020204" pitchFamily="34" charset="0"/>
                  <a:cs typeface="Arial" panose="020B0604020202020204" pitchFamily="34" charset="0"/>
                </a:defRPr>
              </a:lvl4pPr>
              <a:lvl5pPr marL="2057400" indent="-22860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eaLnBrk="1" latinLnBrk="1" hangingPunct="1">
                <a:defRPr/>
              </a:pPr>
              <a:endParaRPr lang="ko-KR" altLang="en-US" sz="1800" b="0" dirty="0">
                <a:latin typeface="맑은 고딕" panose="020B0503020000020004" pitchFamily="50" charset="-127"/>
              </a:endParaRPr>
            </a:p>
          </p:txBody>
        </p:sp>
        <p:sp>
          <p:nvSpPr>
            <p:cNvPr id="17" name="Freeform 13"/>
            <p:cNvSpPr>
              <a:spLocks/>
            </p:cNvSpPr>
            <p:nvPr/>
          </p:nvSpPr>
          <p:spPr bwMode="gray">
            <a:xfrm>
              <a:off x="1313" y="2866"/>
              <a:ext cx="3161" cy="295"/>
            </a:xfrm>
            <a:custGeom>
              <a:avLst/>
              <a:gdLst>
                <a:gd name="T0" fmla="*/ 0 w 3194"/>
                <a:gd name="T1" fmla="*/ 0 h 290"/>
                <a:gd name="T2" fmla="*/ 0 w 3194"/>
                <a:gd name="T3" fmla="*/ 297 h 290"/>
                <a:gd name="T4" fmla="*/ 3096 w 3194"/>
                <a:gd name="T5" fmla="*/ 299 h 290"/>
                <a:gd name="T6" fmla="*/ 3090 w 3194"/>
                <a:gd name="T7" fmla="*/ 265 h 290"/>
                <a:gd name="T8" fmla="*/ 3063 w 3194"/>
                <a:gd name="T9" fmla="*/ 152 h 290"/>
                <a:gd name="T10" fmla="*/ 3022 w 3194"/>
                <a:gd name="T11" fmla="*/ 34 h 290"/>
                <a:gd name="T12" fmla="*/ 3007 w 3194"/>
                <a:gd name="T13" fmla="*/ 2 h 290"/>
                <a:gd name="T14" fmla="*/ 0 w 3194"/>
                <a:gd name="T15" fmla="*/ 0 h 290"/>
                <a:gd name="T16" fmla="*/ 0 60000 65536"/>
                <a:gd name="T17" fmla="*/ 0 60000 65536"/>
                <a:gd name="T18" fmla="*/ 0 60000 65536"/>
                <a:gd name="T19" fmla="*/ 0 60000 65536"/>
                <a:gd name="T20" fmla="*/ 0 60000 65536"/>
                <a:gd name="T21" fmla="*/ 0 60000 65536"/>
                <a:gd name="T22" fmla="*/ 0 60000 65536"/>
                <a:gd name="T23" fmla="*/ 0 60000 65536"/>
                <a:gd name="T24" fmla="*/ 0 w 3194"/>
                <a:gd name="T25" fmla="*/ 0 h 290"/>
                <a:gd name="T26" fmla="*/ 3194 w 3194"/>
                <a:gd name="T27" fmla="*/ 290 h 2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94" h="290">
                  <a:moveTo>
                    <a:pt x="0" y="0"/>
                  </a:moveTo>
                  <a:lnTo>
                    <a:pt x="0" y="288"/>
                  </a:lnTo>
                  <a:lnTo>
                    <a:pt x="3194" y="290"/>
                  </a:lnTo>
                  <a:lnTo>
                    <a:pt x="3188" y="256"/>
                  </a:lnTo>
                  <a:cubicBezTo>
                    <a:pt x="3182" y="232"/>
                    <a:pt x="3172" y="183"/>
                    <a:pt x="3160" y="146"/>
                  </a:cubicBezTo>
                  <a:cubicBezTo>
                    <a:pt x="3146" y="103"/>
                    <a:pt x="3128" y="58"/>
                    <a:pt x="3118" y="34"/>
                  </a:cubicBezTo>
                  <a:lnTo>
                    <a:pt x="3102" y="2"/>
                  </a:lnTo>
                  <a:lnTo>
                    <a:pt x="0" y="0"/>
                  </a:lnTo>
                  <a:close/>
                </a:path>
              </a:pathLst>
            </a:custGeom>
            <a:solidFill>
              <a:srgbClr val="FEFFFE">
                <a:alpha val="49019"/>
              </a:srgbClr>
            </a:solidFill>
            <a:ln>
              <a:noFill/>
            </a:ln>
          </p:spPr>
          <p:txBody>
            <a:bodyPr wrap="none" anchor="ctr"/>
            <a:lstStyle>
              <a:lvl1pPr>
                <a:defRPr sz="1200">
                  <a:solidFill>
                    <a:schemeClr val="tx1"/>
                  </a:solidFill>
                  <a:latin typeface="Arial" panose="020B0604020202020204" pitchFamily="34" charset="0"/>
                  <a:cs typeface="Arial" panose="020B0604020202020204" pitchFamily="34" charset="0"/>
                </a:defRPr>
              </a:lvl1pPr>
              <a:lvl2pPr marL="742950" indent="-285750">
                <a:defRPr sz="1200">
                  <a:solidFill>
                    <a:schemeClr val="tx1"/>
                  </a:solidFill>
                  <a:latin typeface="Arial" panose="020B0604020202020204" pitchFamily="34" charset="0"/>
                  <a:cs typeface="Arial" panose="020B0604020202020204" pitchFamily="34" charset="0"/>
                </a:defRPr>
              </a:lvl2pPr>
              <a:lvl3pPr marL="1143000" indent="-228600">
                <a:defRPr sz="1200">
                  <a:solidFill>
                    <a:schemeClr val="tx1"/>
                  </a:solidFill>
                  <a:latin typeface="Arial" panose="020B0604020202020204" pitchFamily="34" charset="0"/>
                  <a:cs typeface="Arial" panose="020B0604020202020204" pitchFamily="34" charset="0"/>
                </a:defRPr>
              </a:lvl3pPr>
              <a:lvl4pPr marL="1600200" indent="-228600">
                <a:defRPr sz="1200">
                  <a:solidFill>
                    <a:schemeClr val="tx1"/>
                  </a:solidFill>
                  <a:latin typeface="Arial" panose="020B0604020202020204" pitchFamily="34" charset="0"/>
                  <a:cs typeface="Arial" panose="020B0604020202020204" pitchFamily="34" charset="0"/>
                </a:defRPr>
              </a:lvl4pPr>
              <a:lvl5pPr marL="2057400" indent="-22860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eaLnBrk="1" latinLnBrk="1" hangingPunct="1">
                <a:defRPr/>
              </a:pPr>
              <a:endParaRPr lang="ko-KR" altLang="en-US" sz="1800" b="0" dirty="0">
                <a:latin typeface="맑은 고딕" panose="020B0503020000020004" pitchFamily="50" charset="-127"/>
              </a:endParaRPr>
            </a:p>
          </p:txBody>
        </p:sp>
        <p:sp>
          <p:nvSpPr>
            <p:cNvPr id="18" name="Freeform 14"/>
            <p:cNvSpPr>
              <a:spLocks/>
            </p:cNvSpPr>
            <p:nvPr/>
          </p:nvSpPr>
          <p:spPr bwMode="gray">
            <a:xfrm>
              <a:off x="3593" y="3424"/>
              <a:ext cx="914" cy="292"/>
            </a:xfrm>
            <a:custGeom>
              <a:avLst/>
              <a:gdLst>
                <a:gd name="T0" fmla="*/ 0 w 3194"/>
                <a:gd name="T1" fmla="*/ 296 h 290"/>
                <a:gd name="T2" fmla="*/ 0 w 3194"/>
                <a:gd name="T3" fmla="*/ 2 h 290"/>
                <a:gd name="T4" fmla="*/ 75 w 3194"/>
                <a:gd name="T5" fmla="*/ 0 h 290"/>
                <a:gd name="T6" fmla="*/ 74 w 3194"/>
                <a:gd name="T7" fmla="*/ 159 h 290"/>
                <a:gd name="T8" fmla="*/ 73 w 3194"/>
                <a:gd name="T9" fmla="*/ 260 h 290"/>
                <a:gd name="T10" fmla="*/ 73 w 3194"/>
                <a:gd name="T11" fmla="*/ 296 h 290"/>
                <a:gd name="T12" fmla="*/ 0 w 3194"/>
                <a:gd name="T13" fmla="*/ 296 h 290"/>
                <a:gd name="T14" fmla="*/ 0 60000 65536"/>
                <a:gd name="T15" fmla="*/ 0 60000 65536"/>
                <a:gd name="T16" fmla="*/ 0 60000 65536"/>
                <a:gd name="T17" fmla="*/ 0 60000 65536"/>
                <a:gd name="T18" fmla="*/ 0 60000 65536"/>
                <a:gd name="T19" fmla="*/ 0 60000 65536"/>
                <a:gd name="T20" fmla="*/ 0 60000 65536"/>
                <a:gd name="T21" fmla="*/ 0 w 3194"/>
                <a:gd name="T22" fmla="*/ 0 h 290"/>
                <a:gd name="T23" fmla="*/ 3194 w 3194"/>
                <a:gd name="T24" fmla="*/ 290 h 2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94" h="290">
                  <a:moveTo>
                    <a:pt x="0" y="290"/>
                  </a:moveTo>
                  <a:lnTo>
                    <a:pt x="0" y="2"/>
                  </a:lnTo>
                  <a:lnTo>
                    <a:pt x="3194" y="0"/>
                  </a:lnTo>
                  <a:lnTo>
                    <a:pt x="3176" y="156"/>
                  </a:lnTo>
                  <a:cubicBezTo>
                    <a:pt x="3169" y="198"/>
                    <a:pt x="3162" y="232"/>
                    <a:pt x="3150" y="254"/>
                  </a:cubicBezTo>
                  <a:lnTo>
                    <a:pt x="3140" y="290"/>
                  </a:lnTo>
                  <a:lnTo>
                    <a:pt x="0" y="290"/>
                  </a:lnTo>
                  <a:close/>
                </a:path>
              </a:pathLst>
            </a:custGeom>
            <a:solidFill>
              <a:srgbClr val="FEFFFE">
                <a:alpha val="49019"/>
              </a:srgbClr>
            </a:solidFill>
            <a:ln>
              <a:noFill/>
            </a:ln>
          </p:spPr>
          <p:txBody>
            <a:bodyPr wrap="none" anchor="ctr"/>
            <a:lstStyle>
              <a:lvl1pPr>
                <a:defRPr sz="1200">
                  <a:solidFill>
                    <a:schemeClr val="tx1"/>
                  </a:solidFill>
                  <a:latin typeface="Arial" panose="020B0604020202020204" pitchFamily="34" charset="0"/>
                  <a:cs typeface="Arial" panose="020B0604020202020204" pitchFamily="34" charset="0"/>
                </a:defRPr>
              </a:lvl1pPr>
              <a:lvl2pPr marL="742950" indent="-285750">
                <a:defRPr sz="1200">
                  <a:solidFill>
                    <a:schemeClr val="tx1"/>
                  </a:solidFill>
                  <a:latin typeface="Arial" panose="020B0604020202020204" pitchFamily="34" charset="0"/>
                  <a:cs typeface="Arial" panose="020B0604020202020204" pitchFamily="34" charset="0"/>
                </a:defRPr>
              </a:lvl2pPr>
              <a:lvl3pPr marL="1143000" indent="-228600">
                <a:defRPr sz="1200">
                  <a:solidFill>
                    <a:schemeClr val="tx1"/>
                  </a:solidFill>
                  <a:latin typeface="Arial" panose="020B0604020202020204" pitchFamily="34" charset="0"/>
                  <a:cs typeface="Arial" panose="020B0604020202020204" pitchFamily="34" charset="0"/>
                </a:defRPr>
              </a:lvl3pPr>
              <a:lvl4pPr marL="1600200" indent="-228600">
                <a:defRPr sz="1200">
                  <a:solidFill>
                    <a:schemeClr val="tx1"/>
                  </a:solidFill>
                  <a:latin typeface="Arial" panose="020B0604020202020204" pitchFamily="34" charset="0"/>
                  <a:cs typeface="Arial" panose="020B0604020202020204" pitchFamily="34" charset="0"/>
                </a:defRPr>
              </a:lvl4pPr>
              <a:lvl5pPr marL="2057400" indent="-22860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eaLnBrk="1" latinLnBrk="1" hangingPunct="1">
                <a:defRPr/>
              </a:pPr>
              <a:endParaRPr lang="ko-KR" altLang="en-US" sz="1800" b="0" dirty="0">
                <a:latin typeface="맑은 고딕" panose="020B0503020000020004" pitchFamily="50" charset="-127"/>
              </a:endParaRPr>
            </a:p>
          </p:txBody>
        </p:sp>
        <p:sp>
          <p:nvSpPr>
            <p:cNvPr id="19" name="Rectangle 15"/>
            <p:cNvSpPr>
              <a:spLocks noChangeArrowheads="1"/>
            </p:cNvSpPr>
            <p:nvPr/>
          </p:nvSpPr>
          <p:spPr bwMode="gray">
            <a:xfrm>
              <a:off x="1883" y="3426"/>
              <a:ext cx="854" cy="290"/>
            </a:xfrm>
            <a:prstGeom prst="rect">
              <a:avLst/>
            </a:prstGeom>
            <a:solidFill>
              <a:srgbClr val="FEFFFE">
                <a:alpha val="49019"/>
              </a:srgbClr>
            </a:solidFill>
            <a:ln>
              <a:noFill/>
            </a:ln>
          </p:spPr>
          <p:txBody>
            <a:bodyPr wrap="none" anchor="ctr"/>
            <a:lstStyle>
              <a:lvl1pPr>
                <a:defRPr sz="1400" b="1">
                  <a:solidFill>
                    <a:srgbClr val="000000"/>
                  </a:solidFill>
                  <a:latin typeface="Arial" panose="020B0604020202020204" pitchFamily="34" charset="0"/>
                  <a:ea typeface="맑은 고딕" panose="020B0503020000020004" pitchFamily="50" charset="-127"/>
                </a:defRPr>
              </a:lvl1pPr>
              <a:lvl2pPr marL="742950" indent="-285750">
                <a:defRPr sz="1400" b="1">
                  <a:solidFill>
                    <a:srgbClr val="000000"/>
                  </a:solidFill>
                  <a:latin typeface="Arial" panose="020B0604020202020204" pitchFamily="34" charset="0"/>
                  <a:ea typeface="맑은 고딕" panose="020B0503020000020004" pitchFamily="50" charset="-127"/>
                </a:defRPr>
              </a:lvl2pPr>
              <a:lvl3pPr marL="1143000" indent="-228600">
                <a:defRPr sz="1400" b="1">
                  <a:solidFill>
                    <a:srgbClr val="000000"/>
                  </a:solidFill>
                  <a:latin typeface="Arial" panose="020B0604020202020204" pitchFamily="34" charset="0"/>
                  <a:ea typeface="맑은 고딕" panose="020B0503020000020004" pitchFamily="50" charset="-127"/>
                </a:defRPr>
              </a:lvl3pPr>
              <a:lvl4pPr marL="1600200" indent="-228600">
                <a:defRPr sz="1400" b="1">
                  <a:solidFill>
                    <a:srgbClr val="000000"/>
                  </a:solidFill>
                  <a:latin typeface="Arial" panose="020B0604020202020204" pitchFamily="34" charset="0"/>
                  <a:ea typeface="맑은 고딕" panose="020B0503020000020004" pitchFamily="50" charset="-127"/>
                </a:defRPr>
              </a:lvl4pPr>
              <a:lvl5pPr marL="2057400" indent="-228600">
                <a:defRPr sz="1400" b="1">
                  <a:solidFill>
                    <a:srgbClr val="000000"/>
                  </a:solidFill>
                  <a:latin typeface="Arial" panose="020B0604020202020204" pitchFamily="34" charset="0"/>
                  <a:ea typeface="맑은 고딕" panose="020B0503020000020004" pitchFamily="50" charset="-127"/>
                </a:defRPr>
              </a:lvl5pPr>
              <a:lvl6pPr marL="25146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6pPr>
              <a:lvl7pPr marL="29718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7pPr>
              <a:lvl8pPr marL="34290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8pPr>
              <a:lvl9pPr marL="38862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9pPr>
            </a:lstStyle>
            <a:p>
              <a:pPr algn="ctr" latinLnBrk="1">
                <a:spcBef>
                  <a:spcPct val="50000"/>
                </a:spcBef>
                <a:defRPr/>
              </a:pPr>
              <a:endParaRPr lang="ko-KR" altLang="en-US" sz="1200" b="0" dirty="0">
                <a:solidFill>
                  <a:schemeClr val="tx1"/>
                </a:solidFill>
                <a:latin typeface="맑은 고딕" panose="020B0503020000020004" pitchFamily="50" charset="-127"/>
              </a:endParaRPr>
            </a:p>
          </p:txBody>
        </p:sp>
      </p:grpSp>
      <p:sp>
        <p:nvSpPr>
          <p:cNvPr id="20" name="Footer Placeholder 8"/>
          <p:cNvSpPr txBox="1">
            <a:spLocks noGrp="1"/>
          </p:cNvSpPr>
          <p:nvPr userDrawn="1">
            <p:custDataLst>
              <p:tags r:id="rId1"/>
            </p:custDataLst>
          </p:nvPr>
        </p:nvSpPr>
        <p:spPr bwMode="gray">
          <a:xfrm>
            <a:off x="8320088" y="981075"/>
            <a:ext cx="1374775" cy="331788"/>
          </a:xfrm>
          <a:prstGeom prst="rect">
            <a:avLst/>
          </a:prstGeom>
          <a:noFill/>
          <a:ln>
            <a:noFill/>
          </a:ln>
        </p:spPr>
        <p:txBody>
          <a:bodyPr lIns="92075" tIns="46038" rIns="92075" bIns="46038"/>
          <a:lstStyle>
            <a:lvl1pPr>
              <a:defRPr sz="1200">
                <a:solidFill>
                  <a:schemeClr val="tx1"/>
                </a:solidFill>
                <a:latin typeface="Arial" panose="020B0604020202020204" pitchFamily="34" charset="0"/>
                <a:cs typeface="Arial" panose="020B0604020202020204" pitchFamily="34" charset="0"/>
              </a:defRPr>
            </a:lvl1pPr>
            <a:lvl2pPr marL="742950" indent="-285750">
              <a:defRPr sz="1200">
                <a:solidFill>
                  <a:schemeClr val="tx1"/>
                </a:solidFill>
                <a:latin typeface="Arial" panose="020B0604020202020204" pitchFamily="34" charset="0"/>
                <a:cs typeface="Arial" panose="020B0604020202020204" pitchFamily="34" charset="0"/>
              </a:defRPr>
            </a:lvl2pPr>
            <a:lvl3pPr marL="1143000" indent="-228600">
              <a:defRPr sz="1200">
                <a:solidFill>
                  <a:schemeClr val="tx1"/>
                </a:solidFill>
                <a:latin typeface="Arial" panose="020B0604020202020204" pitchFamily="34" charset="0"/>
                <a:cs typeface="Arial" panose="020B0604020202020204" pitchFamily="34" charset="0"/>
              </a:defRPr>
            </a:lvl3pPr>
            <a:lvl4pPr marL="1600200" indent="-228600">
              <a:defRPr sz="1200">
                <a:solidFill>
                  <a:schemeClr val="tx1"/>
                </a:solidFill>
                <a:latin typeface="Arial" panose="020B0604020202020204" pitchFamily="34" charset="0"/>
                <a:cs typeface="Arial" panose="020B0604020202020204" pitchFamily="34" charset="0"/>
              </a:defRPr>
            </a:lvl4pPr>
            <a:lvl5pPr marL="2057400" indent="-22860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r" eaLnBrk="1" hangingPunct="1">
              <a:defRPr/>
            </a:pPr>
            <a:r>
              <a:rPr lang="en-US" altLang="ko-KR" sz="1600" b="0" dirty="0">
                <a:latin typeface="맑은 고딕" panose="020B0503020000020004" pitchFamily="50" charset="-127"/>
              </a:rPr>
              <a:t>Confidential</a:t>
            </a:r>
          </a:p>
        </p:txBody>
      </p:sp>
      <p:grpSp>
        <p:nvGrpSpPr>
          <p:cNvPr id="21" name="Group 56"/>
          <p:cNvGrpSpPr>
            <a:grpSpLocks/>
          </p:cNvGrpSpPr>
          <p:nvPr userDrawn="1"/>
        </p:nvGrpSpPr>
        <p:grpSpPr bwMode="auto">
          <a:xfrm>
            <a:off x="292100" y="3657600"/>
            <a:ext cx="9347200" cy="2519363"/>
            <a:chOff x="235" y="2333"/>
            <a:chExt cx="5736" cy="1546"/>
          </a:xfrm>
        </p:grpSpPr>
        <p:pic>
          <p:nvPicPr>
            <p:cNvPr id="22" name="Picture 4" descr="7780787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235" y="2333"/>
              <a:ext cx="5734" cy="1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6"/>
            <p:cNvSpPr>
              <a:spLocks noChangeArrowheads="1"/>
            </p:cNvSpPr>
            <p:nvPr userDrawn="1"/>
          </p:nvSpPr>
          <p:spPr bwMode="gray">
            <a:xfrm>
              <a:off x="236" y="2333"/>
              <a:ext cx="905" cy="333"/>
            </a:xfrm>
            <a:prstGeom prst="rect">
              <a:avLst/>
            </a:prstGeom>
            <a:solidFill>
              <a:srgbClr val="FEFFFE">
                <a:alpha val="49019"/>
              </a:srgbClr>
            </a:solidFill>
            <a:ln>
              <a:noFill/>
            </a:ln>
          </p:spPr>
          <p:txBody>
            <a:bodyPr wrap="none" anchor="ctr"/>
            <a:lstStyle>
              <a:lvl1pPr>
                <a:defRPr sz="1400" b="1">
                  <a:solidFill>
                    <a:srgbClr val="000000"/>
                  </a:solidFill>
                  <a:latin typeface="Arial" panose="020B0604020202020204" pitchFamily="34" charset="0"/>
                  <a:ea typeface="맑은 고딕" panose="020B0503020000020004" pitchFamily="50" charset="-127"/>
                </a:defRPr>
              </a:lvl1pPr>
              <a:lvl2pPr marL="742950" indent="-285750">
                <a:defRPr sz="1400" b="1">
                  <a:solidFill>
                    <a:srgbClr val="000000"/>
                  </a:solidFill>
                  <a:latin typeface="Arial" panose="020B0604020202020204" pitchFamily="34" charset="0"/>
                  <a:ea typeface="맑은 고딕" panose="020B0503020000020004" pitchFamily="50" charset="-127"/>
                </a:defRPr>
              </a:lvl2pPr>
              <a:lvl3pPr marL="1143000" indent="-228600">
                <a:defRPr sz="1400" b="1">
                  <a:solidFill>
                    <a:srgbClr val="000000"/>
                  </a:solidFill>
                  <a:latin typeface="Arial" panose="020B0604020202020204" pitchFamily="34" charset="0"/>
                  <a:ea typeface="맑은 고딕" panose="020B0503020000020004" pitchFamily="50" charset="-127"/>
                </a:defRPr>
              </a:lvl3pPr>
              <a:lvl4pPr marL="1600200" indent="-228600">
                <a:defRPr sz="1400" b="1">
                  <a:solidFill>
                    <a:srgbClr val="000000"/>
                  </a:solidFill>
                  <a:latin typeface="Arial" panose="020B0604020202020204" pitchFamily="34" charset="0"/>
                  <a:ea typeface="맑은 고딕" panose="020B0503020000020004" pitchFamily="50" charset="-127"/>
                </a:defRPr>
              </a:lvl4pPr>
              <a:lvl5pPr marL="2057400" indent="-228600">
                <a:defRPr sz="1400" b="1">
                  <a:solidFill>
                    <a:srgbClr val="000000"/>
                  </a:solidFill>
                  <a:latin typeface="Arial" panose="020B0604020202020204" pitchFamily="34" charset="0"/>
                  <a:ea typeface="맑은 고딕" panose="020B0503020000020004" pitchFamily="50" charset="-127"/>
                </a:defRPr>
              </a:lvl5pPr>
              <a:lvl6pPr marL="25146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6pPr>
              <a:lvl7pPr marL="29718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7pPr>
              <a:lvl8pPr marL="34290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8pPr>
              <a:lvl9pPr marL="38862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9pPr>
            </a:lstStyle>
            <a:p>
              <a:pPr algn="ctr" latinLnBrk="1">
                <a:spcBef>
                  <a:spcPct val="50000"/>
                </a:spcBef>
                <a:defRPr/>
              </a:pPr>
              <a:endParaRPr lang="ko-KR" altLang="en-US" sz="1200" b="0" dirty="0">
                <a:solidFill>
                  <a:schemeClr val="tx1"/>
                </a:solidFill>
                <a:latin typeface="맑은 고딕" panose="020B0503020000020004" pitchFamily="50" charset="-127"/>
              </a:endParaRPr>
            </a:p>
          </p:txBody>
        </p:sp>
        <p:sp>
          <p:nvSpPr>
            <p:cNvPr id="24" name="Rectangle 7"/>
            <p:cNvSpPr>
              <a:spLocks noChangeArrowheads="1"/>
            </p:cNvSpPr>
            <p:nvPr userDrawn="1"/>
          </p:nvSpPr>
          <p:spPr bwMode="gray">
            <a:xfrm>
              <a:off x="236" y="2973"/>
              <a:ext cx="905" cy="335"/>
            </a:xfrm>
            <a:prstGeom prst="rect">
              <a:avLst/>
            </a:prstGeom>
            <a:solidFill>
              <a:srgbClr val="FEFFFE">
                <a:alpha val="49019"/>
              </a:srgbClr>
            </a:solidFill>
            <a:ln>
              <a:noFill/>
            </a:ln>
          </p:spPr>
          <p:txBody>
            <a:bodyPr wrap="none" anchor="ctr"/>
            <a:lstStyle>
              <a:lvl1pPr>
                <a:defRPr sz="1400" b="1">
                  <a:solidFill>
                    <a:srgbClr val="000000"/>
                  </a:solidFill>
                  <a:latin typeface="Arial" panose="020B0604020202020204" pitchFamily="34" charset="0"/>
                  <a:ea typeface="맑은 고딕" panose="020B0503020000020004" pitchFamily="50" charset="-127"/>
                </a:defRPr>
              </a:lvl1pPr>
              <a:lvl2pPr marL="742950" indent="-285750">
                <a:defRPr sz="1400" b="1">
                  <a:solidFill>
                    <a:srgbClr val="000000"/>
                  </a:solidFill>
                  <a:latin typeface="Arial" panose="020B0604020202020204" pitchFamily="34" charset="0"/>
                  <a:ea typeface="맑은 고딕" panose="020B0503020000020004" pitchFamily="50" charset="-127"/>
                </a:defRPr>
              </a:lvl2pPr>
              <a:lvl3pPr marL="1143000" indent="-228600">
                <a:defRPr sz="1400" b="1">
                  <a:solidFill>
                    <a:srgbClr val="000000"/>
                  </a:solidFill>
                  <a:latin typeface="Arial" panose="020B0604020202020204" pitchFamily="34" charset="0"/>
                  <a:ea typeface="맑은 고딕" panose="020B0503020000020004" pitchFamily="50" charset="-127"/>
                </a:defRPr>
              </a:lvl3pPr>
              <a:lvl4pPr marL="1600200" indent="-228600">
                <a:defRPr sz="1400" b="1">
                  <a:solidFill>
                    <a:srgbClr val="000000"/>
                  </a:solidFill>
                  <a:latin typeface="Arial" panose="020B0604020202020204" pitchFamily="34" charset="0"/>
                  <a:ea typeface="맑은 고딕" panose="020B0503020000020004" pitchFamily="50" charset="-127"/>
                </a:defRPr>
              </a:lvl4pPr>
              <a:lvl5pPr marL="2057400" indent="-228600">
                <a:defRPr sz="1400" b="1">
                  <a:solidFill>
                    <a:srgbClr val="000000"/>
                  </a:solidFill>
                  <a:latin typeface="Arial" panose="020B0604020202020204" pitchFamily="34" charset="0"/>
                  <a:ea typeface="맑은 고딕" panose="020B0503020000020004" pitchFamily="50" charset="-127"/>
                </a:defRPr>
              </a:lvl5pPr>
              <a:lvl6pPr marL="25146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6pPr>
              <a:lvl7pPr marL="29718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7pPr>
              <a:lvl8pPr marL="34290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8pPr>
              <a:lvl9pPr marL="38862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9pPr>
            </a:lstStyle>
            <a:p>
              <a:pPr algn="ctr" latinLnBrk="1">
                <a:spcBef>
                  <a:spcPct val="50000"/>
                </a:spcBef>
                <a:defRPr/>
              </a:pPr>
              <a:endParaRPr lang="ko-KR" altLang="en-US" sz="1200" b="0" dirty="0">
                <a:solidFill>
                  <a:schemeClr val="tx1"/>
                </a:solidFill>
                <a:latin typeface="맑은 고딕" panose="020B0503020000020004" pitchFamily="50" charset="-127"/>
              </a:endParaRPr>
            </a:p>
          </p:txBody>
        </p:sp>
        <p:sp>
          <p:nvSpPr>
            <p:cNvPr id="25" name="Rectangle 9"/>
            <p:cNvSpPr>
              <a:spLocks noChangeArrowheads="1"/>
            </p:cNvSpPr>
            <p:nvPr userDrawn="1"/>
          </p:nvSpPr>
          <p:spPr bwMode="gray">
            <a:xfrm>
              <a:off x="5066" y="2333"/>
              <a:ext cx="905" cy="333"/>
            </a:xfrm>
            <a:prstGeom prst="rect">
              <a:avLst/>
            </a:prstGeom>
            <a:solidFill>
              <a:srgbClr val="FEFFFE">
                <a:alpha val="49019"/>
              </a:srgbClr>
            </a:solidFill>
            <a:ln>
              <a:noFill/>
            </a:ln>
          </p:spPr>
          <p:txBody>
            <a:bodyPr wrap="none" anchor="ctr"/>
            <a:lstStyle>
              <a:lvl1pPr>
                <a:defRPr sz="1400" b="1">
                  <a:solidFill>
                    <a:srgbClr val="000000"/>
                  </a:solidFill>
                  <a:latin typeface="Arial" panose="020B0604020202020204" pitchFamily="34" charset="0"/>
                  <a:ea typeface="맑은 고딕" panose="020B0503020000020004" pitchFamily="50" charset="-127"/>
                </a:defRPr>
              </a:lvl1pPr>
              <a:lvl2pPr marL="742950" indent="-285750">
                <a:defRPr sz="1400" b="1">
                  <a:solidFill>
                    <a:srgbClr val="000000"/>
                  </a:solidFill>
                  <a:latin typeface="Arial" panose="020B0604020202020204" pitchFamily="34" charset="0"/>
                  <a:ea typeface="맑은 고딕" panose="020B0503020000020004" pitchFamily="50" charset="-127"/>
                </a:defRPr>
              </a:lvl2pPr>
              <a:lvl3pPr marL="1143000" indent="-228600">
                <a:defRPr sz="1400" b="1">
                  <a:solidFill>
                    <a:srgbClr val="000000"/>
                  </a:solidFill>
                  <a:latin typeface="Arial" panose="020B0604020202020204" pitchFamily="34" charset="0"/>
                  <a:ea typeface="맑은 고딕" panose="020B0503020000020004" pitchFamily="50" charset="-127"/>
                </a:defRPr>
              </a:lvl3pPr>
              <a:lvl4pPr marL="1600200" indent="-228600">
                <a:defRPr sz="1400" b="1">
                  <a:solidFill>
                    <a:srgbClr val="000000"/>
                  </a:solidFill>
                  <a:latin typeface="Arial" panose="020B0604020202020204" pitchFamily="34" charset="0"/>
                  <a:ea typeface="맑은 고딕" panose="020B0503020000020004" pitchFamily="50" charset="-127"/>
                </a:defRPr>
              </a:lvl4pPr>
              <a:lvl5pPr marL="2057400" indent="-228600">
                <a:defRPr sz="1400" b="1">
                  <a:solidFill>
                    <a:srgbClr val="000000"/>
                  </a:solidFill>
                  <a:latin typeface="Arial" panose="020B0604020202020204" pitchFamily="34" charset="0"/>
                  <a:ea typeface="맑은 고딕" panose="020B0503020000020004" pitchFamily="50" charset="-127"/>
                </a:defRPr>
              </a:lvl5pPr>
              <a:lvl6pPr marL="25146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6pPr>
              <a:lvl7pPr marL="29718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7pPr>
              <a:lvl8pPr marL="34290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8pPr>
              <a:lvl9pPr marL="38862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9pPr>
            </a:lstStyle>
            <a:p>
              <a:pPr algn="ctr" latinLnBrk="1">
                <a:spcBef>
                  <a:spcPct val="50000"/>
                </a:spcBef>
                <a:defRPr/>
              </a:pPr>
              <a:endParaRPr lang="ko-KR" altLang="en-US" sz="1200" b="0" dirty="0">
                <a:solidFill>
                  <a:schemeClr val="tx1"/>
                </a:solidFill>
                <a:latin typeface="맑은 고딕" panose="020B0503020000020004" pitchFamily="50" charset="-127"/>
              </a:endParaRPr>
            </a:p>
          </p:txBody>
        </p:sp>
        <p:sp>
          <p:nvSpPr>
            <p:cNvPr id="26" name="Rectangle 10"/>
            <p:cNvSpPr>
              <a:spLocks noChangeArrowheads="1"/>
            </p:cNvSpPr>
            <p:nvPr userDrawn="1"/>
          </p:nvSpPr>
          <p:spPr bwMode="gray">
            <a:xfrm>
              <a:off x="5066" y="2973"/>
              <a:ext cx="905" cy="335"/>
            </a:xfrm>
            <a:prstGeom prst="rect">
              <a:avLst/>
            </a:prstGeom>
            <a:solidFill>
              <a:srgbClr val="FEFFFE">
                <a:alpha val="49019"/>
              </a:srgbClr>
            </a:solidFill>
            <a:ln>
              <a:noFill/>
            </a:ln>
          </p:spPr>
          <p:txBody>
            <a:bodyPr wrap="none" anchor="ctr"/>
            <a:lstStyle>
              <a:lvl1pPr>
                <a:defRPr sz="1400" b="1">
                  <a:solidFill>
                    <a:srgbClr val="000000"/>
                  </a:solidFill>
                  <a:latin typeface="Arial" panose="020B0604020202020204" pitchFamily="34" charset="0"/>
                  <a:ea typeface="맑은 고딕" panose="020B0503020000020004" pitchFamily="50" charset="-127"/>
                </a:defRPr>
              </a:lvl1pPr>
              <a:lvl2pPr marL="742950" indent="-285750">
                <a:defRPr sz="1400" b="1">
                  <a:solidFill>
                    <a:srgbClr val="000000"/>
                  </a:solidFill>
                  <a:latin typeface="Arial" panose="020B0604020202020204" pitchFamily="34" charset="0"/>
                  <a:ea typeface="맑은 고딕" panose="020B0503020000020004" pitchFamily="50" charset="-127"/>
                </a:defRPr>
              </a:lvl2pPr>
              <a:lvl3pPr marL="1143000" indent="-228600">
                <a:defRPr sz="1400" b="1">
                  <a:solidFill>
                    <a:srgbClr val="000000"/>
                  </a:solidFill>
                  <a:latin typeface="Arial" panose="020B0604020202020204" pitchFamily="34" charset="0"/>
                  <a:ea typeface="맑은 고딕" panose="020B0503020000020004" pitchFamily="50" charset="-127"/>
                </a:defRPr>
              </a:lvl3pPr>
              <a:lvl4pPr marL="1600200" indent="-228600">
                <a:defRPr sz="1400" b="1">
                  <a:solidFill>
                    <a:srgbClr val="000000"/>
                  </a:solidFill>
                  <a:latin typeface="Arial" panose="020B0604020202020204" pitchFamily="34" charset="0"/>
                  <a:ea typeface="맑은 고딕" panose="020B0503020000020004" pitchFamily="50" charset="-127"/>
                </a:defRPr>
              </a:lvl4pPr>
              <a:lvl5pPr marL="2057400" indent="-228600">
                <a:defRPr sz="1400" b="1">
                  <a:solidFill>
                    <a:srgbClr val="000000"/>
                  </a:solidFill>
                  <a:latin typeface="Arial" panose="020B0604020202020204" pitchFamily="34" charset="0"/>
                  <a:ea typeface="맑은 고딕" panose="020B0503020000020004" pitchFamily="50" charset="-127"/>
                </a:defRPr>
              </a:lvl5pPr>
              <a:lvl6pPr marL="25146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6pPr>
              <a:lvl7pPr marL="29718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7pPr>
              <a:lvl8pPr marL="34290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8pPr>
              <a:lvl9pPr marL="38862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9pPr>
            </a:lstStyle>
            <a:p>
              <a:pPr algn="ctr" latinLnBrk="1">
                <a:spcBef>
                  <a:spcPct val="50000"/>
                </a:spcBef>
                <a:defRPr/>
              </a:pPr>
              <a:endParaRPr lang="ko-KR" altLang="en-US" sz="1200" b="0" dirty="0">
                <a:solidFill>
                  <a:schemeClr val="tx1"/>
                </a:solidFill>
                <a:latin typeface="맑은 고딕" panose="020B0503020000020004" pitchFamily="50" charset="-127"/>
              </a:endParaRPr>
            </a:p>
          </p:txBody>
        </p:sp>
        <p:sp>
          <p:nvSpPr>
            <p:cNvPr id="27" name="Freeform 12"/>
            <p:cNvSpPr>
              <a:spLocks/>
            </p:cNvSpPr>
            <p:nvPr userDrawn="1"/>
          </p:nvSpPr>
          <p:spPr bwMode="gray">
            <a:xfrm>
              <a:off x="1444" y="2333"/>
              <a:ext cx="3019" cy="333"/>
            </a:xfrm>
            <a:custGeom>
              <a:avLst/>
              <a:gdLst>
                <a:gd name="T0" fmla="*/ 0 w 2880"/>
                <a:gd name="T1" fmla="*/ 0 h 288"/>
                <a:gd name="T2" fmla="*/ 0 w 2880"/>
                <a:gd name="T3" fmla="*/ 294 h 288"/>
                <a:gd name="T4" fmla="*/ 2791 w 2880"/>
                <a:gd name="T5" fmla="*/ 294 h 288"/>
                <a:gd name="T6" fmla="*/ 2750 w 2880"/>
                <a:gd name="T7" fmla="*/ 262 h 288"/>
                <a:gd name="T8" fmla="*/ 2578 w 2880"/>
                <a:gd name="T9" fmla="*/ 137 h 288"/>
                <a:gd name="T10" fmla="*/ 2355 w 2880"/>
                <a:gd name="T11" fmla="*/ 46 h 288"/>
                <a:gd name="T12" fmla="*/ 2161 w 2880"/>
                <a:gd name="T13" fmla="*/ 10 h 288"/>
                <a:gd name="T14" fmla="*/ 2046 w 2880"/>
                <a:gd name="T15" fmla="*/ 0 h 288"/>
                <a:gd name="T16" fmla="*/ 0 w 2880"/>
                <a:gd name="T17" fmla="*/ 0 h 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80"/>
                <a:gd name="T28" fmla="*/ 0 h 288"/>
                <a:gd name="T29" fmla="*/ 2880 w 2880"/>
                <a:gd name="T30" fmla="*/ 288 h 2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80" h="288">
                  <a:moveTo>
                    <a:pt x="0" y="0"/>
                  </a:moveTo>
                  <a:lnTo>
                    <a:pt x="0" y="288"/>
                  </a:lnTo>
                  <a:lnTo>
                    <a:pt x="2880" y="288"/>
                  </a:lnTo>
                  <a:lnTo>
                    <a:pt x="2838" y="256"/>
                  </a:lnTo>
                  <a:cubicBezTo>
                    <a:pt x="2838" y="256"/>
                    <a:pt x="2728" y="169"/>
                    <a:pt x="2660" y="134"/>
                  </a:cubicBezTo>
                  <a:cubicBezTo>
                    <a:pt x="2592" y="99"/>
                    <a:pt x="2502" y="67"/>
                    <a:pt x="2430" y="46"/>
                  </a:cubicBezTo>
                  <a:cubicBezTo>
                    <a:pt x="2358" y="25"/>
                    <a:pt x="2283" y="18"/>
                    <a:pt x="2230" y="10"/>
                  </a:cubicBezTo>
                  <a:lnTo>
                    <a:pt x="2112" y="0"/>
                  </a:lnTo>
                  <a:lnTo>
                    <a:pt x="0" y="0"/>
                  </a:lnTo>
                  <a:close/>
                </a:path>
              </a:pathLst>
            </a:custGeom>
            <a:solidFill>
              <a:srgbClr val="FEFFFE">
                <a:alpha val="49019"/>
              </a:srgbClr>
            </a:solidFill>
            <a:ln>
              <a:noFill/>
            </a:ln>
          </p:spPr>
          <p:txBody>
            <a:bodyPr wrap="none" anchor="ctr"/>
            <a:lstStyle>
              <a:lvl1pPr>
                <a:defRPr sz="1200">
                  <a:solidFill>
                    <a:schemeClr val="tx1"/>
                  </a:solidFill>
                  <a:latin typeface="Arial" panose="020B0604020202020204" pitchFamily="34" charset="0"/>
                  <a:cs typeface="Arial" panose="020B0604020202020204" pitchFamily="34" charset="0"/>
                </a:defRPr>
              </a:lvl1pPr>
              <a:lvl2pPr marL="742950" indent="-285750">
                <a:defRPr sz="1200">
                  <a:solidFill>
                    <a:schemeClr val="tx1"/>
                  </a:solidFill>
                  <a:latin typeface="Arial" panose="020B0604020202020204" pitchFamily="34" charset="0"/>
                  <a:cs typeface="Arial" panose="020B0604020202020204" pitchFamily="34" charset="0"/>
                </a:defRPr>
              </a:lvl2pPr>
              <a:lvl3pPr marL="1143000" indent="-228600">
                <a:defRPr sz="1200">
                  <a:solidFill>
                    <a:schemeClr val="tx1"/>
                  </a:solidFill>
                  <a:latin typeface="Arial" panose="020B0604020202020204" pitchFamily="34" charset="0"/>
                  <a:cs typeface="Arial" panose="020B0604020202020204" pitchFamily="34" charset="0"/>
                </a:defRPr>
              </a:lvl3pPr>
              <a:lvl4pPr marL="1600200" indent="-228600">
                <a:defRPr sz="1200">
                  <a:solidFill>
                    <a:schemeClr val="tx1"/>
                  </a:solidFill>
                  <a:latin typeface="Arial" panose="020B0604020202020204" pitchFamily="34" charset="0"/>
                  <a:cs typeface="Arial" panose="020B0604020202020204" pitchFamily="34" charset="0"/>
                </a:defRPr>
              </a:lvl4pPr>
              <a:lvl5pPr marL="2057400" indent="-22860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eaLnBrk="1" latinLnBrk="1" hangingPunct="1">
                <a:defRPr/>
              </a:pPr>
              <a:endParaRPr lang="ko-KR" altLang="en-US" sz="1800" b="0" dirty="0">
                <a:latin typeface="맑은 고딕" panose="020B0503020000020004" pitchFamily="50" charset="-127"/>
              </a:endParaRPr>
            </a:p>
          </p:txBody>
        </p:sp>
        <p:sp>
          <p:nvSpPr>
            <p:cNvPr id="28" name="Freeform 13"/>
            <p:cNvSpPr>
              <a:spLocks/>
            </p:cNvSpPr>
            <p:nvPr userDrawn="1"/>
          </p:nvSpPr>
          <p:spPr bwMode="gray">
            <a:xfrm>
              <a:off x="1444" y="2973"/>
              <a:ext cx="3348" cy="337"/>
            </a:xfrm>
            <a:custGeom>
              <a:avLst/>
              <a:gdLst>
                <a:gd name="T0" fmla="*/ 0 w 3194"/>
                <a:gd name="T1" fmla="*/ 0 h 290"/>
                <a:gd name="T2" fmla="*/ 0 w 3194"/>
                <a:gd name="T3" fmla="*/ 297 h 290"/>
                <a:gd name="T4" fmla="*/ 3096 w 3194"/>
                <a:gd name="T5" fmla="*/ 299 h 290"/>
                <a:gd name="T6" fmla="*/ 3090 w 3194"/>
                <a:gd name="T7" fmla="*/ 265 h 290"/>
                <a:gd name="T8" fmla="*/ 3063 w 3194"/>
                <a:gd name="T9" fmla="*/ 152 h 290"/>
                <a:gd name="T10" fmla="*/ 3022 w 3194"/>
                <a:gd name="T11" fmla="*/ 34 h 290"/>
                <a:gd name="T12" fmla="*/ 3007 w 3194"/>
                <a:gd name="T13" fmla="*/ 2 h 290"/>
                <a:gd name="T14" fmla="*/ 0 w 3194"/>
                <a:gd name="T15" fmla="*/ 0 h 290"/>
                <a:gd name="T16" fmla="*/ 0 60000 65536"/>
                <a:gd name="T17" fmla="*/ 0 60000 65536"/>
                <a:gd name="T18" fmla="*/ 0 60000 65536"/>
                <a:gd name="T19" fmla="*/ 0 60000 65536"/>
                <a:gd name="T20" fmla="*/ 0 60000 65536"/>
                <a:gd name="T21" fmla="*/ 0 60000 65536"/>
                <a:gd name="T22" fmla="*/ 0 60000 65536"/>
                <a:gd name="T23" fmla="*/ 0 60000 65536"/>
                <a:gd name="T24" fmla="*/ 0 w 3194"/>
                <a:gd name="T25" fmla="*/ 0 h 290"/>
                <a:gd name="T26" fmla="*/ 3194 w 3194"/>
                <a:gd name="T27" fmla="*/ 290 h 2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94" h="290">
                  <a:moveTo>
                    <a:pt x="0" y="0"/>
                  </a:moveTo>
                  <a:lnTo>
                    <a:pt x="0" y="288"/>
                  </a:lnTo>
                  <a:lnTo>
                    <a:pt x="3194" y="290"/>
                  </a:lnTo>
                  <a:lnTo>
                    <a:pt x="3188" y="256"/>
                  </a:lnTo>
                  <a:cubicBezTo>
                    <a:pt x="3182" y="232"/>
                    <a:pt x="3172" y="183"/>
                    <a:pt x="3160" y="146"/>
                  </a:cubicBezTo>
                  <a:cubicBezTo>
                    <a:pt x="3146" y="103"/>
                    <a:pt x="3128" y="58"/>
                    <a:pt x="3118" y="34"/>
                  </a:cubicBezTo>
                  <a:lnTo>
                    <a:pt x="3102" y="2"/>
                  </a:lnTo>
                  <a:lnTo>
                    <a:pt x="0" y="0"/>
                  </a:lnTo>
                  <a:close/>
                </a:path>
              </a:pathLst>
            </a:custGeom>
            <a:solidFill>
              <a:srgbClr val="FEFFFE">
                <a:alpha val="49019"/>
              </a:srgbClr>
            </a:solidFill>
            <a:ln>
              <a:noFill/>
            </a:ln>
          </p:spPr>
          <p:txBody>
            <a:bodyPr wrap="none" anchor="ctr"/>
            <a:lstStyle>
              <a:lvl1pPr>
                <a:defRPr sz="1200">
                  <a:solidFill>
                    <a:schemeClr val="tx1"/>
                  </a:solidFill>
                  <a:latin typeface="Arial" panose="020B0604020202020204" pitchFamily="34" charset="0"/>
                  <a:cs typeface="Arial" panose="020B0604020202020204" pitchFamily="34" charset="0"/>
                </a:defRPr>
              </a:lvl1pPr>
              <a:lvl2pPr marL="742950" indent="-285750">
                <a:defRPr sz="1200">
                  <a:solidFill>
                    <a:schemeClr val="tx1"/>
                  </a:solidFill>
                  <a:latin typeface="Arial" panose="020B0604020202020204" pitchFamily="34" charset="0"/>
                  <a:cs typeface="Arial" panose="020B0604020202020204" pitchFamily="34" charset="0"/>
                </a:defRPr>
              </a:lvl2pPr>
              <a:lvl3pPr marL="1143000" indent="-228600">
                <a:defRPr sz="1200">
                  <a:solidFill>
                    <a:schemeClr val="tx1"/>
                  </a:solidFill>
                  <a:latin typeface="Arial" panose="020B0604020202020204" pitchFamily="34" charset="0"/>
                  <a:cs typeface="Arial" panose="020B0604020202020204" pitchFamily="34" charset="0"/>
                </a:defRPr>
              </a:lvl3pPr>
              <a:lvl4pPr marL="1600200" indent="-228600">
                <a:defRPr sz="1200">
                  <a:solidFill>
                    <a:schemeClr val="tx1"/>
                  </a:solidFill>
                  <a:latin typeface="Arial" panose="020B0604020202020204" pitchFamily="34" charset="0"/>
                  <a:cs typeface="Arial" panose="020B0604020202020204" pitchFamily="34" charset="0"/>
                </a:defRPr>
              </a:lvl4pPr>
              <a:lvl5pPr marL="2057400" indent="-22860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eaLnBrk="1" latinLnBrk="1" hangingPunct="1">
                <a:defRPr/>
              </a:pPr>
              <a:endParaRPr lang="ko-KR" altLang="en-US" sz="1800" b="0" dirty="0">
                <a:latin typeface="맑은 고딕" panose="020B0503020000020004" pitchFamily="50" charset="-127"/>
              </a:endParaRPr>
            </a:p>
          </p:txBody>
        </p:sp>
        <p:grpSp>
          <p:nvGrpSpPr>
            <p:cNvPr id="29" name="Group 55"/>
            <p:cNvGrpSpPr>
              <a:grpSpLocks/>
            </p:cNvGrpSpPr>
            <p:nvPr userDrawn="1"/>
          </p:nvGrpSpPr>
          <p:grpSpPr bwMode="auto">
            <a:xfrm>
              <a:off x="236" y="3621"/>
              <a:ext cx="5735" cy="256"/>
              <a:chOff x="236" y="3614"/>
              <a:chExt cx="5735" cy="336"/>
            </a:xfrm>
          </p:grpSpPr>
          <p:sp>
            <p:nvSpPr>
              <p:cNvPr id="30" name="Rectangle 8"/>
              <p:cNvSpPr>
                <a:spLocks noChangeArrowheads="1"/>
              </p:cNvSpPr>
              <p:nvPr userDrawn="1"/>
            </p:nvSpPr>
            <p:spPr bwMode="gray">
              <a:xfrm>
                <a:off x="236" y="3616"/>
                <a:ext cx="284" cy="334"/>
              </a:xfrm>
              <a:prstGeom prst="rect">
                <a:avLst/>
              </a:prstGeom>
              <a:solidFill>
                <a:srgbClr val="FEFFFE">
                  <a:alpha val="49019"/>
                </a:srgbClr>
              </a:solidFill>
              <a:ln>
                <a:noFill/>
              </a:ln>
            </p:spPr>
            <p:txBody>
              <a:bodyPr wrap="none" anchor="ctr"/>
              <a:lstStyle>
                <a:lvl1pPr>
                  <a:defRPr sz="1400" b="1">
                    <a:solidFill>
                      <a:srgbClr val="000000"/>
                    </a:solidFill>
                    <a:latin typeface="Arial" panose="020B0604020202020204" pitchFamily="34" charset="0"/>
                    <a:ea typeface="맑은 고딕" panose="020B0503020000020004" pitchFamily="50" charset="-127"/>
                  </a:defRPr>
                </a:lvl1pPr>
                <a:lvl2pPr marL="742950" indent="-285750">
                  <a:defRPr sz="1400" b="1">
                    <a:solidFill>
                      <a:srgbClr val="000000"/>
                    </a:solidFill>
                    <a:latin typeface="Arial" panose="020B0604020202020204" pitchFamily="34" charset="0"/>
                    <a:ea typeface="맑은 고딕" panose="020B0503020000020004" pitchFamily="50" charset="-127"/>
                  </a:defRPr>
                </a:lvl2pPr>
                <a:lvl3pPr marL="1143000" indent="-228600">
                  <a:defRPr sz="1400" b="1">
                    <a:solidFill>
                      <a:srgbClr val="000000"/>
                    </a:solidFill>
                    <a:latin typeface="Arial" panose="020B0604020202020204" pitchFamily="34" charset="0"/>
                    <a:ea typeface="맑은 고딕" panose="020B0503020000020004" pitchFamily="50" charset="-127"/>
                  </a:defRPr>
                </a:lvl3pPr>
                <a:lvl4pPr marL="1600200" indent="-228600">
                  <a:defRPr sz="1400" b="1">
                    <a:solidFill>
                      <a:srgbClr val="000000"/>
                    </a:solidFill>
                    <a:latin typeface="Arial" panose="020B0604020202020204" pitchFamily="34" charset="0"/>
                    <a:ea typeface="맑은 고딕" panose="020B0503020000020004" pitchFamily="50" charset="-127"/>
                  </a:defRPr>
                </a:lvl4pPr>
                <a:lvl5pPr marL="2057400" indent="-228600">
                  <a:defRPr sz="1400" b="1">
                    <a:solidFill>
                      <a:srgbClr val="000000"/>
                    </a:solidFill>
                    <a:latin typeface="Arial" panose="020B0604020202020204" pitchFamily="34" charset="0"/>
                    <a:ea typeface="맑은 고딕" panose="020B0503020000020004" pitchFamily="50" charset="-127"/>
                  </a:defRPr>
                </a:lvl5pPr>
                <a:lvl6pPr marL="25146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6pPr>
                <a:lvl7pPr marL="29718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7pPr>
                <a:lvl8pPr marL="34290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8pPr>
                <a:lvl9pPr marL="38862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9pPr>
              </a:lstStyle>
              <a:p>
                <a:pPr algn="ctr" latinLnBrk="1">
                  <a:spcBef>
                    <a:spcPct val="50000"/>
                  </a:spcBef>
                  <a:defRPr/>
                </a:pPr>
                <a:endParaRPr lang="ko-KR" altLang="en-US" sz="1200" b="0" dirty="0">
                  <a:solidFill>
                    <a:schemeClr val="tx1"/>
                  </a:solidFill>
                  <a:latin typeface="맑은 고딕" panose="020B0503020000020004" pitchFamily="50" charset="-127"/>
                </a:endParaRPr>
              </a:p>
            </p:txBody>
          </p:sp>
          <p:sp>
            <p:nvSpPr>
              <p:cNvPr id="31" name="Rectangle 11"/>
              <p:cNvSpPr>
                <a:spLocks noChangeArrowheads="1"/>
              </p:cNvSpPr>
              <p:nvPr userDrawn="1"/>
            </p:nvSpPr>
            <p:spPr bwMode="gray">
              <a:xfrm>
                <a:off x="5687" y="3616"/>
                <a:ext cx="284" cy="334"/>
              </a:xfrm>
              <a:prstGeom prst="rect">
                <a:avLst/>
              </a:prstGeom>
              <a:solidFill>
                <a:srgbClr val="FEFFFE">
                  <a:alpha val="49019"/>
                </a:srgbClr>
              </a:solidFill>
              <a:ln>
                <a:noFill/>
              </a:ln>
            </p:spPr>
            <p:txBody>
              <a:bodyPr wrap="none" anchor="ctr"/>
              <a:lstStyle>
                <a:lvl1pPr>
                  <a:defRPr sz="1400" b="1">
                    <a:solidFill>
                      <a:srgbClr val="000000"/>
                    </a:solidFill>
                    <a:latin typeface="Arial" panose="020B0604020202020204" pitchFamily="34" charset="0"/>
                    <a:ea typeface="맑은 고딕" panose="020B0503020000020004" pitchFamily="50" charset="-127"/>
                  </a:defRPr>
                </a:lvl1pPr>
                <a:lvl2pPr marL="742950" indent="-285750">
                  <a:defRPr sz="1400" b="1">
                    <a:solidFill>
                      <a:srgbClr val="000000"/>
                    </a:solidFill>
                    <a:latin typeface="Arial" panose="020B0604020202020204" pitchFamily="34" charset="0"/>
                    <a:ea typeface="맑은 고딕" panose="020B0503020000020004" pitchFamily="50" charset="-127"/>
                  </a:defRPr>
                </a:lvl2pPr>
                <a:lvl3pPr marL="1143000" indent="-228600">
                  <a:defRPr sz="1400" b="1">
                    <a:solidFill>
                      <a:srgbClr val="000000"/>
                    </a:solidFill>
                    <a:latin typeface="Arial" panose="020B0604020202020204" pitchFamily="34" charset="0"/>
                    <a:ea typeface="맑은 고딕" panose="020B0503020000020004" pitchFamily="50" charset="-127"/>
                  </a:defRPr>
                </a:lvl3pPr>
                <a:lvl4pPr marL="1600200" indent="-228600">
                  <a:defRPr sz="1400" b="1">
                    <a:solidFill>
                      <a:srgbClr val="000000"/>
                    </a:solidFill>
                    <a:latin typeface="Arial" panose="020B0604020202020204" pitchFamily="34" charset="0"/>
                    <a:ea typeface="맑은 고딕" panose="020B0503020000020004" pitchFamily="50" charset="-127"/>
                  </a:defRPr>
                </a:lvl4pPr>
                <a:lvl5pPr marL="2057400" indent="-228600">
                  <a:defRPr sz="1400" b="1">
                    <a:solidFill>
                      <a:srgbClr val="000000"/>
                    </a:solidFill>
                    <a:latin typeface="Arial" panose="020B0604020202020204" pitchFamily="34" charset="0"/>
                    <a:ea typeface="맑은 고딕" panose="020B0503020000020004" pitchFamily="50" charset="-127"/>
                  </a:defRPr>
                </a:lvl5pPr>
                <a:lvl6pPr marL="25146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6pPr>
                <a:lvl7pPr marL="29718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7pPr>
                <a:lvl8pPr marL="34290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8pPr>
                <a:lvl9pPr marL="38862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9pPr>
              </a:lstStyle>
              <a:p>
                <a:pPr algn="ctr" latinLnBrk="1">
                  <a:spcBef>
                    <a:spcPct val="50000"/>
                  </a:spcBef>
                  <a:defRPr/>
                </a:pPr>
                <a:endParaRPr lang="ko-KR" altLang="en-US" sz="1200" b="0" dirty="0">
                  <a:solidFill>
                    <a:schemeClr val="tx1"/>
                  </a:solidFill>
                  <a:latin typeface="맑은 고딕" panose="020B0503020000020004" pitchFamily="50" charset="-127"/>
                </a:endParaRPr>
              </a:p>
            </p:txBody>
          </p:sp>
          <p:sp>
            <p:nvSpPr>
              <p:cNvPr id="32" name="Freeform 14"/>
              <p:cNvSpPr>
                <a:spLocks/>
              </p:cNvSpPr>
              <p:nvPr userDrawn="1"/>
            </p:nvSpPr>
            <p:spPr bwMode="gray">
              <a:xfrm>
                <a:off x="3859" y="3614"/>
                <a:ext cx="967" cy="336"/>
              </a:xfrm>
              <a:custGeom>
                <a:avLst/>
                <a:gdLst>
                  <a:gd name="T0" fmla="*/ 0 w 3194"/>
                  <a:gd name="T1" fmla="*/ 296 h 290"/>
                  <a:gd name="T2" fmla="*/ 0 w 3194"/>
                  <a:gd name="T3" fmla="*/ 2 h 290"/>
                  <a:gd name="T4" fmla="*/ 75 w 3194"/>
                  <a:gd name="T5" fmla="*/ 0 h 290"/>
                  <a:gd name="T6" fmla="*/ 74 w 3194"/>
                  <a:gd name="T7" fmla="*/ 159 h 290"/>
                  <a:gd name="T8" fmla="*/ 73 w 3194"/>
                  <a:gd name="T9" fmla="*/ 260 h 290"/>
                  <a:gd name="T10" fmla="*/ 73 w 3194"/>
                  <a:gd name="T11" fmla="*/ 296 h 290"/>
                  <a:gd name="T12" fmla="*/ 0 w 3194"/>
                  <a:gd name="T13" fmla="*/ 296 h 290"/>
                  <a:gd name="T14" fmla="*/ 0 60000 65536"/>
                  <a:gd name="T15" fmla="*/ 0 60000 65536"/>
                  <a:gd name="T16" fmla="*/ 0 60000 65536"/>
                  <a:gd name="T17" fmla="*/ 0 60000 65536"/>
                  <a:gd name="T18" fmla="*/ 0 60000 65536"/>
                  <a:gd name="T19" fmla="*/ 0 60000 65536"/>
                  <a:gd name="T20" fmla="*/ 0 60000 65536"/>
                  <a:gd name="T21" fmla="*/ 0 w 3194"/>
                  <a:gd name="T22" fmla="*/ 0 h 290"/>
                  <a:gd name="T23" fmla="*/ 3194 w 3194"/>
                  <a:gd name="T24" fmla="*/ 290 h 2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94" h="290">
                    <a:moveTo>
                      <a:pt x="0" y="290"/>
                    </a:moveTo>
                    <a:lnTo>
                      <a:pt x="0" y="2"/>
                    </a:lnTo>
                    <a:lnTo>
                      <a:pt x="3194" y="0"/>
                    </a:lnTo>
                    <a:lnTo>
                      <a:pt x="3176" y="156"/>
                    </a:lnTo>
                    <a:cubicBezTo>
                      <a:pt x="3169" y="198"/>
                      <a:pt x="3162" y="232"/>
                      <a:pt x="3150" y="254"/>
                    </a:cubicBezTo>
                    <a:lnTo>
                      <a:pt x="3140" y="290"/>
                    </a:lnTo>
                    <a:lnTo>
                      <a:pt x="0" y="290"/>
                    </a:lnTo>
                    <a:close/>
                  </a:path>
                </a:pathLst>
              </a:custGeom>
              <a:solidFill>
                <a:srgbClr val="FEFFFE">
                  <a:alpha val="49019"/>
                </a:srgbClr>
              </a:solidFill>
              <a:ln>
                <a:noFill/>
              </a:ln>
            </p:spPr>
            <p:txBody>
              <a:bodyPr wrap="none" anchor="ctr"/>
              <a:lstStyle>
                <a:lvl1pPr>
                  <a:defRPr sz="1200">
                    <a:solidFill>
                      <a:schemeClr val="tx1"/>
                    </a:solidFill>
                    <a:latin typeface="Arial" panose="020B0604020202020204" pitchFamily="34" charset="0"/>
                    <a:cs typeface="Arial" panose="020B0604020202020204" pitchFamily="34" charset="0"/>
                  </a:defRPr>
                </a:lvl1pPr>
                <a:lvl2pPr marL="742950" indent="-285750">
                  <a:defRPr sz="1200">
                    <a:solidFill>
                      <a:schemeClr val="tx1"/>
                    </a:solidFill>
                    <a:latin typeface="Arial" panose="020B0604020202020204" pitchFamily="34" charset="0"/>
                    <a:cs typeface="Arial" panose="020B0604020202020204" pitchFamily="34" charset="0"/>
                  </a:defRPr>
                </a:lvl2pPr>
                <a:lvl3pPr marL="1143000" indent="-228600">
                  <a:defRPr sz="1200">
                    <a:solidFill>
                      <a:schemeClr val="tx1"/>
                    </a:solidFill>
                    <a:latin typeface="Arial" panose="020B0604020202020204" pitchFamily="34" charset="0"/>
                    <a:cs typeface="Arial" panose="020B0604020202020204" pitchFamily="34" charset="0"/>
                  </a:defRPr>
                </a:lvl3pPr>
                <a:lvl4pPr marL="1600200" indent="-228600">
                  <a:defRPr sz="1200">
                    <a:solidFill>
                      <a:schemeClr val="tx1"/>
                    </a:solidFill>
                    <a:latin typeface="Arial" panose="020B0604020202020204" pitchFamily="34" charset="0"/>
                    <a:cs typeface="Arial" panose="020B0604020202020204" pitchFamily="34" charset="0"/>
                  </a:defRPr>
                </a:lvl4pPr>
                <a:lvl5pPr marL="2057400" indent="-22860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eaLnBrk="1" latinLnBrk="1" hangingPunct="1">
                  <a:defRPr/>
                </a:pPr>
                <a:endParaRPr lang="ko-KR" altLang="en-US" sz="1800" b="0" dirty="0">
                  <a:latin typeface="맑은 고딕" panose="020B0503020000020004" pitchFamily="50" charset="-127"/>
                </a:endParaRPr>
              </a:p>
            </p:txBody>
          </p:sp>
          <p:sp>
            <p:nvSpPr>
              <p:cNvPr id="33" name="Rectangle 15"/>
              <p:cNvSpPr>
                <a:spLocks noChangeArrowheads="1"/>
              </p:cNvSpPr>
              <p:nvPr userDrawn="1"/>
            </p:nvSpPr>
            <p:spPr bwMode="gray">
              <a:xfrm>
                <a:off x="2047" y="3616"/>
                <a:ext cx="905" cy="334"/>
              </a:xfrm>
              <a:prstGeom prst="rect">
                <a:avLst/>
              </a:prstGeom>
              <a:solidFill>
                <a:srgbClr val="FEFFFE">
                  <a:alpha val="49019"/>
                </a:srgbClr>
              </a:solidFill>
              <a:ln>
                <a:noFill/>
              </a:ln>
            </p:spPr>
            <p:txBody>
              <a:bodyPr wrap="none" anchor="ctr"/>
              <a:lstStyle>
                <a:lvl1pPr>
                  <a:defRPr sz="1400" b="1">
                    <a:solidFill>
                      <a:srgbClr val="000000"/>
                    </a:solidFill>
                    <a:latin typeface="Arial" panose="020B0604020202020204" pitchFamily="34" charset="0"/>
                    <a:ea typeface="맑은 고딕" panose="020B0503020000020004" pitchFamily="50" charset="-127"/>
                  </a:defRPr>
                </a:lvl1pPr>
                <a:lvl2pPr marL="742950" indent="-285750">
                  <a:defRPr sz="1400" b="1">
                    <a:solidFill>
                      <a:srgbClr val="000000"/>
                    </a:solidFill>
                    <a:latin typeface="Arial" panose="020B0604020202020204" pitchFamily="34" charset="0"/>
                    <a:ea typeface="맑은 고딕" panose="020B0503020000020004" pitchFamily="50" charset="-127"/>
                  </a:defRPr>
                </a:lvl2pPr>
                <a:lvl3pPr marL="1143000" indent="-228600">
                  <a:defRPr sz="1400" b="1">
                    <a:solidFill>
                      <a:srgbClr val="000000"/>
                    </a:solidFill>
                    <a:latin typeface="Arial" panose="020B0604020202020204" pitchFamily="34" charset="0"/>
                    <a:ea typeface="맑은 고딕" panose="020B0503020000020004" pitchFamily="50" charset="-127"/>
                  </a:defRPr>
                </a:lvl3pPr>
                <a:lvl4pPr marL="1600200" indent="-228600">
                  <a:defRPr sz="1400" b="1">
                    <a:solidFill>
                      <a:srgbClr val="000000"/>
                    </a:solidFill>
                    <a:latin typeface="Arial" panose="020B0604020202020204" pitchFamily="34" charset="0"/>
                    <a:ea typeface="맑은 고딕" panose="020B0503020000020004" pitchFamily="50" charset="-127"/>
                  </a:defRPr>
                </a:lvl4pPr>
                <a:lvl5pPr marL="2057400" indent="-228600">
                  <a:defRPr sz="1400" b="1">
                    <a:solidFill>
                      <a:srgbClr val="000000"/>
                    </a:solidFill>
                    <a:latin typeface="Arial" panose="020B0604020202020204" pitchFamily="34" charset="0"/>
                    <a:ea typeface="맑은 고딕" panose="020B0503020000020004" pitchFamily="50" charset="-127"/>
                  </a:defRPr>
                </a:lvl5pPr>
                <a:lvl6pPr marL="25146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6pPr>
                <a:lvl7pPr marL="29718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7pPr>
                <a:lvl8pPr marL="34290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8pPr>
                <a:lvl9pPr marL="3886200" indent="-228600" eaLnBrk="0" fontAlgn="base" hangingPunct="0">
                  <a:spcBef>
                    <a:spcPct val="0"/>
                  </a:spcBef>
                  <a:spcAft>
                    <a:spcPct val="0"/>
                  </a:spcAft>
                  <a:defRPr sz="1400" b="1">
                    <a:solidFill>
                      <a:srgbClr val="000000"/>
                    </a:solidFill>
                    <a:latin typeface="Arial" panose="020B0604020202020204" pitchFamily="34" charset="0"/>
                    <a:ea typeface="맑은 고딕" panose="020B0503020000020004" pitchFamily="50" charset="-127"/>
                  </a:defRPr>
                </a:lvl9pPr>
              </a:lstStyle>
              <a:p>
                <a:pPr algn="ctr" latinLnBrk="1">
                  <a:spcBef>
                    <a:spcPct val="50000"/>
                  </a:spcBef>
                  <a:defRPr/>
                </a:pPr>
                <a:endParaRPr lang="ko-KR" altLang="en-US" sz="1200" b="0" dirty="0">
                  <a:solidFill>
                    <a:schemeClr val="tx1"/>
                  </a:solidFill>
                  <a:latin typeface="맑은 고딕" panose="020B0503020000020004" pitchFamily="50" charset="-127"/>
                </a:endParaRPr>
              </a:p>
            </p:txBody>
          </p:sp>
        </p:grpSp>
      </p:grpSp>
      <p:sp>
        <p:nvSpPr>
          <p:cNvPr id="659458" name="Rectangle 2"/>
          <p:cNvSpPr>
            <a:spLocks noGrp="1" noChangeArrowheads="1"/>
          </p:cNvSpPr>
          <p:nvPr>
            <p:ph type="ctrTitle"/>
          </p:nvPr>
        </p:nvSpPr>
        <p:spPr>
          <a:xfrm>
            <a:off x="198438" y="1646238"/>
            <a:ext cx="8915400" cy="1874837"/>
          </a:xfrm>
        </p:spPr>
        <p:txBody>
          <a:bodyPr/>
          <a:lstStyle>
            <a:lvl1pPr>
              <a:defRPr sz="3200" smtClean="0">
                <a:latin typeface="맑은 고딕" panose="020B0503020000020004" pitchFamily="50" charset="-127"/>
                <a:ea typeface="맑은 고딕" panose="020B0503020000020004" pitchFamily="50" charset="-127"/>
              </a:defRPr>
            </a:lvl1pPr>
          </a:lstStyle>
          <a:p>
            <a:pPr lvl="0"/>
            <a:r>
              <a:rPr lang="en-US" altLang="ko-KR" noProof="0"/>
              <a:t>Click to edit Master title style</a:t>
            </a:r>
          </a:p>
        </p:txBody>
      </p:sp>
      <p:sp>
        <p:nvSpPr>
          <p:cNvPr id="659459" name="Rectangle 3"/>
          <p:cNvSpPr>
            <a:spLocks noGrp="1" noChangeArrowheads="1"/>
          </p:cNvSpPr>
          <p:nvPr>
            <p:ph type="subTitle" idx="1"/>
          </p:nvPr>
        </p:nvSpPr>
        <p:spPr>
          <a:xfrm>
            <a:off x="296863" y="549275"/>
            <a:ext cx="8321675" cy="776288"/>
          </a:xfrm>
        </p:spPr>
        <p:txBody>
          <a:bodyPr anchor="b"/>
          <a:lstStyle>
            <a:lvl1pPr marL="0" indent="0">
              <a:buFont typeface="Wingdings" panose="05000000000000000000" pitchFamily="2" charset="2"/>
              <a:buNone/>
              <a:defRPr smtClean="0">
                <a:latin typeface="맑은 고딕" panose="020B0503020000020004" pitchFamily="50" charset="-127"/>
                <a:ea typeface="맑은 고딕" panose="020B0503020000020004" pitchFamily="50" charset="-127"/>
              </a:defRPr>
            </a:lvl1pPr>
          </a:lstStyle>
          <a:p>
            <a:pPr lvl="0"/>
            <a:r>
              <a:rPr lang="en-US" altLang="ko-KR" noProof="0"/>
              <a:t>Click to edit Master subtitle style</a:t>
            </a:r>
          </a:p>
        </p:txBody>
      </p:sp>
    </p:spTree>
    <p:extLst>
      <p:ext uri="{BB962C8B-B14F-4D97-AF65-F5344CB8AC3E}">
        <p14:creationId xmlns:p14="http://schemas.microsoft.com/office/powerpoint/2010/main" val="309548054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0"/>
            <a:ext cx="9906000" cy="1714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hasCustomPrompt="1"/>
          </p:nvPr>
        </p:nvSpPr>
        <p:spPr>
          <a:xfrm>
            <a:off x="309562" y="571500"/>
            <a:ext cx="8358188" cy="9525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4488656" cy="43815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10" name="Content Placeholder 2"/>
          <p:cNvSpPr>
            <a:spLocks noGrp="1"/>
          </p:cNvSpPr>
          <p:nvPr>
            <p:ph idx="13"/>
          </p:nvPr>
        </p:nvSpPr>
        <p:spPr>
          <a:xfrm>
            <a:off x="4953000" y="1714500"/>
            <a:ext cx="4643438" cy="4381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3"/>
          <p:cNvSpPr>
            <a:spLocks noGrp="1"/>
          </p:cNvSpPr>
          <p:nvPr>
            <p:ph type="body" sz="quarter" idx="14" hasCustomPrompt="1"/>
          </p:nvPr>
        </p:nvSpPr>
        <p:spPr>
          <a:xfrm>
            <a:off x="309562" y="6118860"/>
            <a:ext cx="4519613" cy="381000"/>
          </a:xfr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Tree>
    <p:extLst>
      <p:ext uri="{BB962C8B-B14F-4D97-AF65-F5344CB8AC3E}">
        <p14:creationId xmlns:p14="http://schemas.microsoft.com/office/powerpoint/2010/main" val="10055224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4A0CED89-FD38-4CF1-8C66-B01ABB5F04C8}"/>
              </a:ext>
            </a:extLst>
          </p:cNvPr>
          <p:cNvSpPr/>
          <p:nvPr userDrawn="1"/>
        </p:nvSpPr>
        <p:spPr>
          <a:xfrm>
            <a:off x="4907222" y="1714500"/>
            <a:ext cx="4998778"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de-DE" sz="1600" b="0">
              <a:solidFill>
                <a:srgbClr val="051243"/>
              </a:solidFill>
            </a:endParaRPr>
          </a:p>
        </p:txBody>
      </p:sp>
      <p:sp>
        <p:nvSpPr>
          <p:cNvPr id="10" name="Rectangle 9"/>
          <p:cNvSpPr/>
          <p:nvPr userDrawn="1"/>
        </p:nvSpPr>
        <p:spPr>
          <a:xfrm flipV="1">
            <a:off x="0" y="0"/>
            <a:ext cx="9906000" cy="1714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hasCustomPrompt="1"/>
          </p:nvPr>
        </p:nvSpPr>
        <p:spPr>
          <a:xfrm>
            <a:off x="309562" y="571500"/>
            <a:ext cx="8358188" cy="952500"/>
          </a:xfrm>
        </p:spPr>
        <p:txBody>
          <a:bodyPr>
            <a:noAutofit/>
          </a:bodyPr>
          <a:lstStyle>
            <a:lvl1pPr>
              <a:defRPr>
                <a:solidFill>
                  <a:schemeClr val="tx1"/>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2012156"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4916998" y="1714500"/>
            <a:ext cx="2321719" cy="4381500"/>
          </a:xfrm>
        </p:spPr>
        <p:txBody>
          <a:bodyPr tIns="167632">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2476500" y="1714500"/>
            <a:ext cx="2321719"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7429500" y="1714500"/>
            <a:ext cx="2321719" cy="4381500"/>
          </a:xfrm>
        </p:spPr>
        <p:txBody>
          <a:bodyPr tIns="167632">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23"/>
          <p:cNvSpPr>
            <a:spLocks noGrp="1"/>
          </p:cNvSpPr>
          <p:nvPr>
            <p:ph type="body" sz="quarter" idx="14" hasCustomPrompt="1"/>
          </p:nvPr>
        </p:nvSpPr>
        <p:spPr>
          <a:xfrm>
            <a:off x="309562" y="6118860"/>
            <a:ext cx="4519613" cy="381000"/>
          </a:xfr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pic>
        <p:nvPicPr>
          <p:cNvPr id="13" name="Picture 12">
            <a:extLst>
              <a:ext uri="{FF2B5EF4-FFF2-40B4-BE49-F238E27FC236}">
                <a16:creationId xmlns="" xmlns:a16="http://schemas.microsoft.com/office/drawing/2014/main" id="{EC7E0397-3087-4862-89C8-7F62F09543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954" y="6515113"/>
            <a:ext cx="383308" cy="190500"/>
          </a:xfrm>
          <a:prstGeom prst="rect">
            <a:avLst/>
          </a:prstGeom>
        </p:spPr>
      </p:pic>
    </p:spTree>
    <p:extLst>
      <p:ext uri="{BB962C8B-B14F-4D97-AF65-F5344CB8AC3E}">
        <p14:creationId xmlns:p14="http://schemas.microsoft.com/office/powerpoint/2010/main" val="27207037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3-4_Title and Content">
    <p:spTree>
      <p:nvGrpSpPr>
        <p:cNvPr id="1" name=""/>
        <p:cNvGrpSpPr/>
        <p:nvPr/>
      </p:nvGrpSpPr>
      <p:grpSpPr>
        <a:xfrm>
          <a:off x="0" y="0"/>
          <a:ext cx="0" cy="0"/>
          <a:chOff x="0" y="0"/>
          <a:chExt cx="0" cy="0"/>
        </a:xfrm>
      </p:grpSpPr>
      <p:sp>
        <p:nvSpPr>
          <p:cNvPr id="10" name="Rectangle 9"/>
          <p:cNvSpPr/>
          <p:nvPr userDrawn="1"/>
        </p:nvSpPr>
        <p:spPr>
          <a:xfrm flipV="1">
            <a:off x="0" y="0"/>
            <a:ext cx="9906000" cy="1714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hasCustomPrompt="1"/>
          </p:nvPr>
        </p:nvSpPr>
        <p:spPr>
          <a:xfrm>
            <a:off x="309562" y="571500"/>
            <a:ext cx="8358188" cy="952500"/>
          </a:xfrm>
        </p:spPr>
        <p:txBody>
          <a:bodyPr>
            <a:noAutofit/>
          </a:bodyPr>
          <a:lstStyle>
            <a:lvl1pPr>
              <a:defRPr>
                <a:solidFill>
                  <a:schemeClr val="tx1"/>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2012156"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4953000" y="1714500"/>
            <a:ext cx="2321719"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2476500" y="1714500"/>
            <a:ext cx="2321719"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7429500" y="1714500"/>
            <a:ext cx="2321719"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23"/>
          <p:cNvSpPr>
            <a:spLocks noGrp="1"/>
          </p:cNvSpPr>
          <p:nvPr>
            <p:ph type="body" sz="quarter" idx="14" hasCustomPrompt="1"/>
          </p:nvPr>
        </p:nvSpPr>
        <p:spPr>
          <a:xfrm>
            <a:off x="309562" y="6118860"/>
            <a:ext cx="4519613" cy="381000"/>
          </a:xfr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Tree>
    <p:extLst>
      <p:ext uri="{BB962C8B-B14F-4D97-AF65-F5344CB8AC3E}">
        <p14:creationId xmlns:p14="http://schemas.microsoft.com/office/powerpoint/2010/main" val="13757396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3-5_Title and Content">
    <p:bg>
      <p:bgPr>
        <a:solidFill>
          <a:schemeClr val="tx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56687278-B928-4AF4-91B2-E7F3B94F48D5}"/>
              </a:ext>
            </a:extLst>
          </p:cNvPr>
          <p:cNvSpPr/>
          <p:nvPr userDrawn="1"/>
        </p:nvSpPr>
        <p:spPr>
          <a:xfrm>
            <a:off x="0" y="0"/>
            <a:ext cx="9906000" cy="17144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hasCustomPrompt="1"/>
          </p:nvPr>
        </p:nvSpPr>
        <p:spPr>
          <a:xfrm>
            <a:off x="309562" y="571500"/>
            <a:ext cx="8358188" cy="9525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4488656" cy="43815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10" name="Content Placeholder 2"/>
          <p:cNvSpPr>
            <a:spLocks noGrp="1"/>
          </p:cNvSpPr>
          <p:nvPr>
            <p:ph idx="13"/>
          </p:nvPr>
        </p:nvSpPr>
        <p:spPr>
          <a:xfrm>
            <a:off x="4953000" y="1714500"/>
            <a:ext cx="4643438" cy="4381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3"/>
          <p:cNvSpPr>
            <a:spLocks noGrp="1"/>
          </p:cNvSpPr>
          <p:nvPr>
            <p:ph type="body" sz="quarter" idx="14" hasCustomPrompt="1"/>
          </p:nvPr>
        </p:nvSpPr>
        <p:spPr>
          <a:xfrm>
            <a:off x="309562" y="6118860"/>
            <a:ext cx="4519613" cy="381000"/>
          </a:xfr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Tree>
    <p:extLst>
      <p:ext uri="{BB962C8B-B14F-4D97-AF65-F5344CB8AC3E}">
        <p14:creationId xmlns:p14="http://schemas.microsoft.com/office/powerpoint/2010/main" val="8784509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3-6_Title and Content">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 xmlns:a16="http://schemas.microsoft.com/office/drawing/2014/main" id="{166BE0EA-03D7-4C1B-A61F-FFD51D73B189}"/>
              </a:ext>
            </a:extLst>
          </p:cNvPr>
          <p:cNvSpPr/>
          <p:nvPr userDrawn="1"/>
        </p:nvSpPr>
        <p:spPr>
          <a:xfrm>
            <a:off x="0" y="0"/>
            <a:ext cx="9906000" cy="17144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hasCustomPrompt="1"/>
          </p:nvPr>
        </p:nvSpPr>
        <p:spPr>
          <a:xfrm>
            <a:off x="309562" y="571500"/>
            <a:ext cx="8358188" cy="9525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2012156"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4953000" y="1714500"/>
            <a:ext cx="2321719"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2476500" y="1714500"/>
            <a:ext cx="2321719"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7429500" y="1714500"/>
            <a:ext cx="2321719"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3"/>
          <p:cNvSpPr>
            <a:spLocks noGrp="1"/>
          </p:cNvSpPr>
          <p:nvPr>
            <p:ph type="body" sz="quarter" idx="14" hasCustomPrompt="1"/>
          </p:nvPr>
        </p:nvSpPr>
        <p:spPr>
          <a:xfrm>
            <a:off x="309563" y="6118860"/>
            <a:ext cx="4488656" cy="381000"/>
          </a:xfr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Tree>
    <p:extLst>
      <p:ext uri="{BB962C8B-B14F-4D97-AF65-F5344CB8AC3E}">
        <p14:creationId xmlns:p14="http://schemas.microsoft.com/office/powerpoint/2010/main" val="40090885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9562" y="571500"/>
            <a:ext cx="8358188" cy="9525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4488656" cy="43815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10" name="Content Placeholder 2"/>
          <p:cNvSpPr>
            <a:spLocks noGrp="1"/>
          </p:cNvSpPr>
          <p:nvPr>
            <p:ph idx="13"/>
          </p:nvPr>
        </p:nvSpPr>
        <p:spPr>
          <a:xfrm>
            <a:off x="4953000" y="1714500"/>
            <a:ext cx="4643438" cy="4381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3"/>
          <p:cNvSpPr>
            <a:spLocks noGrp="1"/>
          </p:cNvSpPr>
          <p:nvPr>
            <p:ph type="body" sz="quarter" idx="14" hasCustomPrompt="1"/>
          </p:nvPr>
        </p:nvSpPr>
        <p:spPr>
          <a:xfrm>
            <a:off x="309562" y="6118860"/>
            <a:ext cx="4519613" cy="381000"/>
          </a:xfr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Tree>
    <p:extLst>
      <p:ext uri="{BB962C8B-B14F-4D97-AF65-F5344CB8AC3E}">
        <p14:creationId xmlns:p14="http://schemas.microsoft.com/office/powerpoint/2010/main" val="37632643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9562" y="571500"/>
            <a:ext cx="8358188" cy="9525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2012156"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4953000" y="1714500"/>
            <a:ext cx="2321719"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2476500" y="1714500"/>
            <a:ext cx="2321719"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7429500" y="1714500"/>
            <a:ext cx="2321719"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3"/>
          <p:cNvSpPr>
            <a:spLocks noGrp="1"/>
          </p:cNvSpPr>
          <p:nvPr>
            <p:ph type="body" sz="quarter" idx="14" hasCustomPrompt="1"/>
          </p:nvPr>
        </p:nvSpPr>
        <p:spPr>
          <a:xfrm>
            <a:off x="309563" y="6118860"/>
            <a:ext cx="4488656" cy="381000"/>
          </a:xfr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Tree>
    <p:extLst>
      <p:ext uri="{BB962C8B-B14F-4D97-AF65-F5344CB8AC3E}">
        <p14:creationId xmlns:p14="http://schemas.microsoft.com/office/powerpoint/2010/main" val="29502370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2476500" y="0"/>
            <a:ext cx="74295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p:nvPr>
        </p:nvSpPr>
        <p:spPr>
          <a:xfrm>
            <a:off x="309563" y="1714500"/>
            <a:ext cx="2012156" cy="30480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309563" y="220980"/>
            <a:ext cx="2012156" cy="6858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954" y="6515113"/>
            <a:ext cx="383309" cy="190500"/>
          </a:xfrm>
          <a:prstGeom prst="rect">
            <a:avLst/>
          </a:prstGeom>
        </p:spPr>
      </p:pic>
      <p:sp>
        <p:nvSpPr>
          <p:cNvPr id="9" name="Content Placeholder 2"/>
          <p:cNvSpPr>
            <a:spLocks noGrp="1"/>
          </p:cNvSpPr>
          <p:nvPr>
            <p:ph idx="10"/>
          </p:nvPr>
        </p:nvSpPr>
        <p:spPr>
          <a:xfrm>
            <a:off x="4953000" y="1714500"/>
            <a:ext cx="2321719" cy="43815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2631281" y="1714500"/>
            <a:ext cx="2166938" cy="43815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7429500" y="1714500"/>
            <a:ext cx="2321719" cy="43815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23"/>
          <p:cNvSpPr>
            <a:spLocks noGrp="1"/>
          </p:cNvSpPr>
          <p:nvPr>
            <p:ph type="body" sz="quarter" idx="15" hasCustomPrompt="1"/>
          </p:nvPr>
        </p:nvSpPr>
        <p:spPr>
          <a:xfrm>
            <a:off x="309563" y="6096000"/>
            <a:ext cx="2043113" cy="403860"/>
          </a:xfr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
        <p:nvSpPr>
          <p:cNvPr id="12" name="Footer Placeholder 3"/>
          <p:cNvSpPr txBox="1">
            <a:spLocks/>
          </p:cNvSpPr>
          <p:nvPr userDrawn="1"/>
        </p:nvSpPr>
        <p:spPr>
          <a:xfrm>
            <a:off x="2631281" y="6583680"/>
            <a:ext cx="154674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000000">
                    <a:alpha val="60000"/>
                  </a:srgbClr>
                </a:solidFill>
                <a:latin typeface="IBM Plex Sans" charset="0"/>
                <a:ea typeface="IBM Plex Sans" charset="0"/>
                <a:cs typeface="IBM Plex Sans" charset="0"/>
              </a:rPr>
              <a:t>IBM Institute for Business Value</a:t>
            </a:r>
          </a:p>
        </p:txBody>
      </p:sp>
    </p:spTree>
    <p:extLst>
      <p:ext uri="{BB962C8B-B14F-4D97-AF65-F5344CB8AC3E}">
        <p14:creationId xmlns:p14="http://schemas.microsoft.com/office/powerpoint/2010/main" val="3553230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4" name="Rectangle 3"/>
          <p:cNvSpPr/>
          <p:nvPr userDrawn="1"/>
        </p:nvSpPr>
        <p:spPr>
          <a:xfrm flipH="1">
            <a:off x="0" y="0"/>
            <a:ext cx="24765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p:nvPr>
        </p:nvSpPr>
        <p:spPr>
          <a:xfrm>
            <a:off x="309563" y="1714500"/>
            <a:ext cx="2012156" cy="30480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309563" y="220980"/>
            <a:ext cx="2012156" cy="6858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9" name="Content Placeholder 2"/>
          <p:cNvSpPr>
            <a:spLocks noGrp="1"/>
          </p:cNvSpPr>
          <p:nvPr>
            <p:ph idx="10"/>
          </p:nvPr>
        </p:nvSpPr>
        <p:spPr>
          <a:xfrm>
            <a:off x="4953000" y="1714500"/>
            <a:ext cx="2321719" cy="43815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2631281" y="1714500"/>
            <a:ext cx="2166938" cy="43815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7429500" y="1714500"/>
            <a:ext cx="2321719" cy="43815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3"/>
          <p:cNvSpPr>
            <a:spLocks noGrp="1"/>
          </p:cNvSpPr>
          <p:nvPr>
            <p:ph type="body" sz="quarter" idx="15" hasCustomPrompt="1"/>
          </p:nvPr>
        </p:nvSpPr>
        <p:spPr>
          <a:xfrm>
            <a:off x="309563" y="6096000"/>
            <a:ext cx="2043113" cy="403860"/>
          </a:xfrm>
        </p:spPr>
        <p:txBody>
          <a:bodyPr tIns="0" anchor="b"/>
          <a:lstStyle>
            <a:lvl1pPr>
              <a:defRPr sz="600" b="0">
                <a:solidFill>
                  <a:schemeClr val="tx1">
                    <a:alpha val="70000"/>
                  </a:schemeClr>
                </a:solidFill>
                <a:latin typeface="IBM Plex Sans" charset="0"/>
                <a:ea typeface="IBM Plex Sans" charset="0"/>
                <a:cs typeface="IBM Plex Sans" charset="0"/>
              </a:defRPr>
            </a:lvl1pPr>
            <a:lvl2pPr>
              <a:defRPr sz="700"/>
            </a:lvl2pPr>
            <a:lvl3pPr>
              <a:defRPr sz="700"/>
            </a:lvl3pPr>
            <a:lvl4pPr>
              <a:defRPr sz="700"/>
            </a:lvl4pPr>
            <a:lvl5pPr>
              <a:defRPr sz="700"/>
            </a:lvl5pPr>
          </a:lstStyle>
          <a:p>
            <a:pPr lvl="0"/>
            <a:r>
              <a:rPr lang="en-US" dirty="0"/>
              <a:t>Source: Edit source here</a:t>
            </a:r>
          </a:p>
        </p:txBody>
      </p:sp>
      <p:grpSp>
        <p:nvGrpSpPr>
          <p:cNvPr id="12" name="Group 11"/>
          <p:cNvGrpSpPr/>
          <p:nvPr userDrawn="1"/>
        </p:nvGrpSpPr>
        <p:grpSpPr>
          <a:xfrm>
            <a:off x="619125" y="6583046"/>
            <a:ext cx="1837164" cy="183809"/>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000000">
                      <a:alpha val="60000"/>
                    </a:srgbClr>
                  </a:solidFill>
                  <a:latin typeface="IBM Plex Sans" charset="0"/>
                  <a:ea typeface="IBM Plex Sans" charset="0"/>
                  <a:cs typeface="IBM Plex Sans" charset="0"/>
                </a:rPr>
                <a:t>©</a:t>
              </a:r>
              <a:r>
                <a:rPr lang="en-US" sz="300" b="0" dirty="0">
                  <a:solidFill>
                    <a:srgbClr val="000000">
                      <a:alpha val="60000"/>
                    </a:srgbClr>
                  </a:solidFill>
                  <a:latin typeface="IBM Plex Sans" charset="0"/>
                  <a:ea typeface="IBM Plex Sans" charset="0"/>
                  <a:cs typeface="IBM Plex Sans" charset="0"/>
                </a:rPr>
                <a:t> </a:t>
              </a:r>
              <a:r>
                <a:rPr lang="en-US" sz="600" b="0" dirty="0">
                  <a:solidFill>
                    <a:srgbClr val="000000">
                      <a:alpha val="60000"/>
                    </a:srgbClr>
                  </a:solidFill>
                  <a:latin typeface="IBM Plex Sans" charset="0"/>
                  <a:ea typeface="IBM Plex Sans" charset="0"/>
                  <a:cs typeface="IBM Plex Sans" charset="0"/>
                </a:rPr>
                <a:t>2018 IBM Corporation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000000">
                      <a:alpha val="60000"/>
                    </a:srgbClr>
                  </a:solidFill>
                  <a:latin typeface="IBM Plex Sans" charset="0"/>
                  <a:ea typeface="IBM Plex Sans" charset="0"/>
                  <a:cs typeface="IBM Plex Sans" charset="0"/>
                </a:rPr>
                <a:t> </a:t>
              </a:r>
              <a:fld id="{7C9968D1-C8E5-4FE3-AED4-7D4518C301B3}" type="datetime3">
                <a:rPr lang="en-US" sz="600" b="0" smtClean="0">
                  <a:solidFill>
                    <a:srgbClr val="000000">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000000">
                    <a:alpha val="60000"/>
                  </a:srgbClr>
                </a:solidFill>
                <a:latin typeface="IBM Plex Sans" charset="0"/>
                <a:ea typeface="IBM Plex Sans" charset="0"/>
                <a:cs typeface="IBM Plex Sans" charset="0"/>
              </a:endParaRPr>
            </a:p>
          </p:txBody>
        </p:sp>
      </p:grpSp>
      <p:sp>
        <p:nvSpPr>
          <p:cNvPr id="16"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000000"/>
                </a:solidFill>
                <a:latin typeface="IBM Plex Sans" charset="0"/>
                <a:ea typeface="IBM Plex Sans" charset="0"/>
                <a:cs typeface="IBM Plex Sans" charset="0"/>
              </a:rPr>
              <a:pPr fontAlgn="auto">
                <a:spcBef>
                  <a:spcPts val="0"/>
                </a:spcBef>
                <a:spcAft>
                  <a:spcPts val="0"/>
                </a:spcAft>
              </a:pPr>
              <a:t>‹#›</a:t>
            </a:fld>
            <a:endParaRPr lang="en-US" sz="600" b="0" dirty="0">
              <a:solidFill>
                <a:srgbClr val="000000"/>
              </a:solidFill>
              <a:latin typeface="IBM Plex Sans" charset="0"/>
              <a:ea typeface="IBM Plex Sans" charset="0"/>
              <a:cs typeface="IBM Plex Sans" charset="0"/>
            </a:endParaRPr>
          </a:p>
        </p:txBody>
      </p:sp>
    </p:spTree>
    <p:extLst>
      <p:ext uri="{BB962C8B-B14F-4D97-AF65-F5344CB8AC3E}">
        <p14:creationId xmlns:p14="http://schemas.microsoft.com/office/powerpoint/2010/main" val="170367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4" name="Rectangle 3"/>
          <p:cNvSpPr/>
          <p:nvPr userDrawn="1"/>
        </p:nvSpPr>
        <p:spPr>
          <a:xfrm flipH="1">
            <a:off x="0" y="0"/>
            <a:ext cx="24765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p:nvPr>
        </p:nvSpPr>
        <p:spPr>
          <a:xfrm>
            <a:off x="309563" y="1714500"/>
            <a:ext cx="2012156" cy="30480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309563" y="220980"/>
            <a:ext cx="2012156" cy="6858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9" name="Content Placeholder 2"/>
          <p:cNvSpPr>
            <a:spLocks noGrp="1"/>
          </p:cNvSpPr>
          <p:nvPr>
            <p:ph idx="10"/>
          </p:nvPr>
        </p:nvSpPr>
        <p:spPr>
          <a:xfrm>
            <a:off x="4953000" y="1714500"/>
            <a:ext cx="2321719" cy="43815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2631281" y="1714500"/>
            <a:ext cx="2166938" cy="43815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7429500" y="0"/>
            <a:ext cx="2476500" cy="6858000"/>
          </a:xfrm>
        </p:spPr>
        <p:txBody>
          <a:bodyPr lIns="167632" tIns="1508691" rIns="67053">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3"/>
          <p:cNvSpPr>
            <a:spLocks noGrp="1"/>
          </p:cNvSpPr>
          <p:nvPr>
            <p:ph type="body" sz="quarter" idx="15" hasCustomPrompt="1"/>
          </p:nvPr>
        </p:nvSpPr>
        <p:spPr>
          <a:xfrm>
            <a:off x="309563" y="6096000"/>
            <a:ext cx="2043113" cy="403860"/>
          </a:xfr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grpSp>
        <p:nvGrpSpPr>
          <p:cNvPr id="13" name="Group 12"/>
          <p:cNvGrpSpPr/>
          <p:nvPr userDrawn="1"/>
        </p:nvGrpSpPr>
        <p:grpSpPr>
          <a:xfrm>
            <a:off x="619125" y="6583046"/>
            <a:ext cx="1837164" cy="183809"/>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000000">
                      <a:alpha val="60000"/>
                    </a:srgbClr>
                  </a:solidFill>
                  <a:latin typeface="IBM Plex Sans" charset="0"/>
                  <a:ea typeface="IBM Plex Sans" charset="0"/>
                  <a:cs typeface="IBM Plex Sans" charset="0"/>
                </a:rPr>
                <a:t>©</a:t>
              </a:r>
              <a:r>
                <a:rPr lang="en-US" sz="300" b="0" dirty="0">
                  <a:solidFill>
                    <a:srgbClr val="000000">
                      <a:alpha val="60000"/>
                    </a:srgbClr>
                  </a:solidFill>
                  <a:latin typeface="IBM Plex Sans" charset="0"/>
                  <a:ea typeface="IBM Plex Sans" charset="0"/>
                  <a:cs typeface="IBM Plex Sans" charset="0"/>
                </a:rPr>
                <a:t> </a:t>
              </a:r>
              <a:r>
                <a:rPr lang="en-US" sz="600" b="0" dirty="0">
                  <a:solidFill>
                    <a:srgbClr val="000000">
                      <a:alpha val="60000"/>
                    </a:srgbClr>
                  </a:solidFill>
                  <a:latin typeface="IBM Plex Sans" charset="0"/>
                  <a:ea typeface="IBM Plex Sans" charset="0"/>
                  <a:cs typeface="IBM Plex Sans" charset="0"/>
                </a:rPr>
                <a:t>2018 IBM Corporation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000000">
                      <a:alpha val="60000"/>
                    </a:srgbClr>
                  </a:solidFill>
                  <a:latin typeface="IBM Plex Sans" charset="0"/>
                  <a:ea typeface="IBM Plex Sans" charset="0"/>
                  <a:cs typeface="IBM Plex Sans" charset="0"/>
                </a:rPr>
                <a:t> </a:t>
              </a:r>
              <a:fld id="{7C9968D1-C8E5-4FE3-AED4-7D4518C301B3}" type="datetime3">
                <a:rPr lang="en-US" sz="600" b="0" smtClean="0">
                  <a:solidFill>
                    <a:srgbClr val="000000">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000000">
                    <a:alpha val="60000"/>
                  </a:srgbClr>
                </a:solidFill>
                <a:latin typeface="IBM Plex Sans" charset="0"/>
                <a:ea typeface="IBM Plex Sans" charset="0"/>
                <a:cs typeface="IBM Plex Sans" charset="0"/>
              </a:endParaRPr>
            </a:p>
          </p:txBody>
        </p:sp>
      </p:grpSp>
      <p:sp>
        <p:nvSpPr>
          <p:cNvPr id="18"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000000"/>
                </a:solidFill>
                <a:latin typeface="IBM Plex Sans" charset="0"/>
                <a:ea typeface="IBM Plex Sans" charset="0"/>
                <a:cs typeface="IBM Plex Sans" charset="0"/>
              </a:rPr>
              <a:pPr fontAlgn="auto">
                <a:spcBef>
                  <a:spcPts val="0"/>
                </a:spcBef>
                <a:spcAft>
                  <a:spcPts val="0"/>
                </a:spcAft>
              </a:pPr>
              <a:t>‹#›</a:t>
            </a:fld>
            <a:endParaRPr lang="en-US" sz="600" b="0" dirty="0">
              <a:solidFill>
                <a:srgbClr val="000000"/>
              </a:solidFill>
              <a:latin typeface="IBM Plex Sans" charset="0"/>
              <a:ea typeface="IBM Plex Sans" charset="0"/>
              <a:cs typeface="IBM Plex Sans" charset="0"/>
            </a:endParaRPr>
          </a:p>
        </p:txBody>
      </p:sp>
    </p:spTree>
    <p:extLst>
      <p:ext uri="{BB962C8B-B14F-4D97-AF65-F5344CB8AC3E}">
        <p14:creationId xmlns:p14="http://schemas.microsoft.com/office/powerpoint/2010/main" val="1010007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fld id="{4FFBB59A-718E-474F-8617-51F8C5FE5BBF}" type="slidenum">
              <a:rPr lang="ko-KR" altLang="en-US"/>
              <a:pPr/>
              <a:t>‹#›</a:t>
            </a:fld>
            <a:endParaRPr lang="en-US" altLang="ko-KR"/>
          </a:p>
        </p:txBody>
      </p:sp>
    </p:spTree>
    <p:extLst>
      <p:ext uri="{BB962C8B-B14F-4D97-AF65-F5344CB8AC3E}">
        <p14:creationId xmlns:p14="http://schemas.microsoft.com/office/powerpoint/2010/main" val="41616246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10_Title and Content">
    <p:spTree>
      <p:nvGrpSpPr>
        <p:cNvPr id="1" name=""/>
        <p:cNvGrpSpPr/>
        <p:nvPr/>
      </p:nvGrpSpPr>
      <p:grpSpPr>
        <a:xfrm>
          <a:off x="0" y="0"/>
          <a:ext cx="0" cy="0"/>
          <a:chOff x="0" y="0"/>
          <a:chExt cx="0" cy="0"/>
        </a:xfrm>
      </p:grpSpPr>
      <p:sp>
        <p:nvSpPr>
          <p:cNvPr id="4" name="Rectangle 3"/>
          <p:cNvSpPr/>
          <p:nvPr userDrawn="1"/>
        </p:nvSpPr>
        <p:spPr>
          <a:xfrm>
            <a:off x="4953000" y="0"/>
            <a:ext cx="4953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309563" y="1714500"/>
            <a:ext cx="4457700" cy="4381500"/>
          </a:xfrm>
          <a:prstGeom prst="rect">
            <a:avLst/>
          </a:prstGeom>
        </p:spPr>
        <p:txBody>
          <a:bodyPr tIns="0">
            <a:no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5107781" y="1714500"/>
            <a:ext cx="4457700" cy="4381500"/>
          </a:xfrm>
          <a:prstGeom prst="rect">
            <a:avLst/>
          </a:prstGeo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954" y="6515113"/>
            <a:ext cx="383309" cy="190500"/>
          </a:xfrm>
          <a:prstGeom prst="rect">
            <a:avLst/>
          </a:prstGeom>
        </p:spPr>
      </p:pic>
      <p:sp>
        <p:nvSpPr>
          <p:cNvPr id="9" name="Text Placeholder 23"/>
          <p:cNvSpPr>
            <a:spLocks noGrp="1"/>
          </p:cNvSpPr>
          <p:nvPr>
            <p:ph type="body" sz="quarter" idx="14" hasCustomPrompt="1"/>
          </p:nvPr>
        </p:nvSpPr>
        <p:spPr>
          <a:xfrm>
            <a:off x="309562" y="6118860"/>
            <a:ext cx="4519613" cy="381000"/>
          </a:xfrm>
          <a:prstGeom prst="rect">
            <a:avLst/>
          </a:prstGeo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
        <p:nvSpPr>
          <p:cNvPr id="10"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19116285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3-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309563" y="1714500"/>
            <a:ext cx="4457700" cy="4381500"/>
          </a:xfrm>
          <a:prstGeom prst="rect">
            <a:avLst/>
          </a:prstGeom>
        </p:spPr>
        <p:txBody>
          <a:bodyPr tIns="0">
            <a:no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5107781" y="1714500"/>
            <a:ext cx="4457700" cy="4381500"/>
          </a:xfrm>
          <a:prstGeom prst="rect">
            <a:avLst/>
          </a:prstGeo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3"/>
          <p:cNvSpPr>
            <a:spLocks noGrp="1"/>
          </p:cNvSpPr>
          <p:nvPr>
            <p:ph type="body" sz="quarter" idx="14" hasCustomPrompt="1"/>
          </p:nvPr>
        </p:nvSpPr>
        <p:spPr>
          <a:xfrm>
            <a:off x="309562" y="6118860"/>
            <a:ext cx="4519613" cy="381000"/>
          </a:xfrm>
          <a:prstGeom prst="rect">
            <a:avLst/>
          </a:prstGeo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
        <p:nvSpPr>
          <p:cNvPr id="10"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6059155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4953000" y="0"/>
            <a:ext cx="4953000" cy="6858000"/>
          </a:xfrm>
        </p:spPr>
        <p:txBody>
          <a:bodyPr/>
          <a:lstStyle/>
          <a:p>
            <a:endParaRPr lang="en-US"/>
          </a:p>
        </p:txBody>
      </p:sp>
      <p:sp>
        <p:nvSpPr>
          <p:cNvPr id="2" name="Title 1"/>
          <p:cNvSpPr>
            <a:spLocks noGrp="1"/>
          </p:cNvSpPr>
          <p:nvPr>
            <p:ph type="title"/>
          </p:nvPr>
        </p:nvSpPr>
        <p:spPr>
          <a:xfrm>
            <a:off x="309563" y="571500"/>
            <a:ext cx="4488656" cy="4381500"/>
          </a:xfrm>
        </p:spPr>
        <p:txBody>
          <a:bodyPr>
            <a:noAutofit/>
          </a:bodyPr>
          <a:lstStyle>
            <a:lvl1pPr>
              <a:defRPr sz="4000" b="0"/>
            </a:lvl1pPr>
          </a:lstStyle>
          <a:p>
            <a:r>
              <a:rPr lang="en-US" dirty="0"/>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954" y="6515113"/>
            <a:ext cx="383309" cy="190500"/>
          </a:xfrm>
          <a:prstGeom prst="rect">
            <a:avLst/>
          </a:prstGeom>
        </p:spPr>
      </p:pic>
      <p:grpSp>
        <p:nvGrpSpPr>
          <p:cNvPr id="20" name="Group 19"/>
          <p:cNvGrpSpPr/>
          <p:nvPr userDrawn="1"/>
        </p:nvGrpSpPr>
        <p:grpSpPr>
          <a:xfrm>
            <a:off x="619125" y="6583046"/>
            <a:ext cx="1837164" cy="183809"/>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Arial Regular" charset="0"/>
                </a:rPr>
                <a:t>©</a:t>
              </a:r>
              <a:r>
                <a:rPr lang="en-US" sz="300" b="0" dirty="0">
                  <a:solidFill>
                    <a:srgbClr val="FFFFFF">
                      <a:alpha val="60000"/>
                    </a:srgbClr>
                  </a:solidFill>
                  <a:latin typeface="Arial Regular" charset="0"/>
                </a:rPr>
                <a:t> </a:t>
              </a:r>
              <a:r>
                <a:rPr lang="en-US" sz="600" b="0" dirty="0">
                  <a:solidFill>
                    <a:srgbClr val="FFFFFF">
                      <a:alpha val="60000"/>
                    </a:srgbClr>
                  </a:solidFill>
                  <a:latin typeface="Arial Regular" charset="0"/>
                </a:rPr>
                <a:t>2018 IBM Corporation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FFFFFF">
                      <a:alpha val="60000"/>
                    </a:srgbClr>
                  </a:solidFill>
                  <a:latin typeface="Arial Regular" charset="0"/>
                  <a:cs typeface="Arial Regular" charset="0"/>
                </a:rPr>
                <a:t> </a:t>
              </a:r>
              <a:fld id="{7C9968D1-C8E5-4FE3-AED4-7D4518C301B3}" type="datetime3">
                <a:rPr lang="en-US" sz="600" b="0" smtClean="0">
                  <a:solidFill>
                    <a:srgbClr val="FFFFFF">
                      <a:alpha val="60000"/>
                    </a:srgbClr>
                  </a:solidFill>
                  <a:latin typeface="Arial Regular" charset="0"/>
                  <a:cs typeface="Arial Regular" charset="0"/>
                </a:rPr>
                <a:pPr fontAlgn="auto">
                  <a:spcBef>
                    <a:spcPts val="0"/>
                  </a:spcBef>
                  <a:spcAft>
                    <a:spcPts val="0"/>
                  </a:spcAft>
                  <a:defRPr/>
                </a:pPr>
                <a:t>5 January 2022</a:t>
              </a:fld>
              <a:endParaRPr lang="en-US" sz="600" b="0" dirty="0">
                <a:solidFill>
                  <a:srgbClr val="FFFFFF">
                    <a:alpha val="60000"/>
                  </a:srgbClr>
                </a:solidFill>
                <a:latin typeface="Arial Regular" charset="0"/>
                <a:cs typeface="Arial Regular" charset="0"/>
              </a:endParaRPr>
            </a:p>
          </p:txBody>
        </p:sp>
      </p:grpSp>
      <p:sp>
        <p:nvSpPr>
          <p:cNvPr id="23" name="Footer Placeholder 3"/>
          <p:cNvSpPr txBox="1">
            <a:spLocks/>
          </p:cNvSpPr>
          <p:nvPr userDrawn="1"/>
        </p:nvSpPr>
        <p:spPr>
          <a:xfrm>
            <a:off x="2631281" y="6583680"/>
            <a:ext cx="154674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Arial Regular" charset="0"/>
              </a:rPr>
              <a:t>IBM Institute for Business Value</a:t>
            </a:r>
          </a:p>
        </p:txBody>
      </p:sp>
      <p:sp>
        <p:nvSpPr>
          <p:cNvPr id="24"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Arial Regular" charset="0"/>
              </a:rPr>
              <a:pPr fontAlgn="auto">
                <a:spcBef>
                  <a:spcPts val="0"/>
                </a:spcBef>
                <a:spcAft>
                  <a:spcPts val="0"/>
                </a:spcAft>
              </a:pPr>
              <a:t>‹#›</a:t>
            </a:fld>
            <a:endParaRPr lang="en-US" sz="600" b="0" dirty="0">
              <a:solidFill>
                <a:srgbClr val="FFFFFF"/>
              </a:solidFill>
              <a:latin typeface="Arial Regular" charset="0"/>
            </a:endParaRPr>
          </a:p>
        </p:txBody>
      </p:sp>
    </p:spTree>
    <p:extLst>
      <p:ext uri="{BB962C8B-B14F-4D97-AF65-F5344CB8AC3E}">
        <p14:creationId xmlns:p14="http://schemas.microsoft.com/office/powerpoint/2010/main" val="12814277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Rectangle 3"/>
          <p:cNvSpPr/>
          <p:nvPr userDrawn="1"/>
        </p:nvSpPr>
        <p:spPr>
          <a:xfrm>
            <a:off x="4953000" y="0"/>
            <a:ext cx="4953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309563" y="1714500"/>
            <a:ext cx="4457700" cy="4381500"/>
          </a:xfrm>
          <a:prstGeom prst="rect">
            <a:avLst/>
          </a:prstGeom>
        </p:spPr>
        <p:txBody>
          <a:bodyPr tIns="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5107781" y="1714500"/>
            <a:ext cx="4457700" cy="4381500"/>
          </a:xfrm>
          <a:prstGeom prst="rect">
            <a:avLst/>
          </a:prstGeom>
        </p:spPr>
        <p:txBody>
          <a:bodyPr t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954" y="6515113"/>
            <a:ext cx="383308" cy="190500"/>
          </a:xfrm>
          <a:prstGeom prst="rect">
            <a:avLst/>
          </a:prstGeom>
        </p:spPr>
      </p:pic>
      <p:sp>
        <p:nvSpPr>
          <p:cNvPr id="9" name="Text Placeholder 23"/>
          <p:cNvSpPr>
            <a:spLocks noGrp="1"/>
          </p:cNvSpPr>
          <p:nvPr>
            <p:ph type="body" sz="quarter" idx="14" hasCustomPrompt="1"/>
          </p:nvPr>
        </p:nvSpPr>
        <p:spPr>
          <a:xfrm>
            <a:off x="309563" y="6118860"/>
            <a:ext cx="4488656" cy="381000"/>
          </a:xfrm>
          <a:prstGeom prst="rect">
            <a:avLst/>
          </a:prstGeo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
        <p:nvSpPr>
          <p:cNvPr id="11"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19504105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Rectangle 3"/>
          <p:cNvSpPr/>
          <p:nvPr userDrawn="1"/>
        </p:nvSpPr>
        <p:spPr>
          <a:xfrm>
            <a:off x="4953000" y="0"/>
            <a:ext cx="4953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309563" y="1714500"/>
            <a:ext cx="4457700" cy="4381500"/>
          </a:xfrm>
          <a:prstGeom prst="rect">
            <a:avLst/>
          </a:prstGeom>
        </p:spPr>
        <p:txBody>
          <a:bodyPr tIns="0">
            <a:no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5107781" y="1714500"/>
            <a:ext cx="4457700" cy="4381500"/>
          </a:xfrm>
          <a:prstGeom prst="rect">
            <a:avLst/>
          </a:prstGeom>
        </p:spPr>
        <p:txBody>
          <a:bodyPr t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212954" y="6515113"/>
            <a:ext cx="383309" cy="190501"/>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12954" y="6515113"/>
            <a:ext cx="383308" cy="190500"/>
          </a:xfrm>
          <a:prstGeom prst="rect">
            <a:avLst/>
          </a:prstGeom>
        </p:spPr>
      </p:pic>
      <p:sp>
        <p:nvSpPr>
          <p:cNvPr id="10" name="Text Placeholder 23"/>
          <p:cNvSpPr>
            <a:spLocks noGrp="1"/>
          </p:cNvSpPr>
          <p:nvPr>
            <p:ph type="body" sz="quarter" idx="14" hasCustomPrompt="1"/>
          </p:nvPr>
        </p:nvSpPr>
        <p:spPr>
          <a:xfrm>
            <a:off x="309562" y="6118860"/>
            <a:ext cx="4519613" cy="381000"/>
          </a:xfrm>
          <a:prstGeom prst="rect">
            <a:avLst/>
          </a:prstGeo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
        <p:nvSpPr>
          <p:cNvPr id="11"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31929062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4" name="Rectangle 3"/>
          <p:cNvSpPr/>
          <p:nvPr userDrawn="1"/>
        </p:nvSpPr>
        <p:spPr>
          <a:xfrm>
            <a:off x="4953000" y="0"/>
            <a:ext cx="4953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p:nvPr>
        </p:nvSpPr>
        <p:spPr>
          <a:xfrm>
            <a:off x="309563" y="1714500"/>
            <a:ext cx="4457700" cy="952500"/>
          </a:xfrm>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309563" y="2971800"/>
            <a:ext cx="4457700" cy="3124200"/>
          </a:xfrm>
          <a:prstGeom prst="rect">
            <a:avLst/>
          </a:prstGeom>
        </p:spPr>
        <p:txBody>
          <a:bodyPr tIns="0">
            <a:noAutofit/>
          </a:bodyPr>
          <a:lstStyle>
            <a:lvl1pPr>
              <a:defRPr sz="1800">
                <a:solidFill>
                  <a:schemeClr val="accent2"/>
                </a:solidFill>
              </a:defRPr>
            </a:lvl1pPr>
            <a:lvl2pPr>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endParaRPr lang="en-US" dirty="0"/>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5107781" y="1714500"/>
            <a:ext cx="4457700" cy="4381500"/>
          </a:xfrm>
          <a:prstGeom prst="rect">
            <a:avLst/>
          </a:prstGeom>
        </p:spPr>
        <p:txBody>
          <a:bodyPr t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212954" y="6515113"/>
            <a:ext cx="383309" cy="190501"/>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12954" y="6515113"/>
            <a:ext cx="383308" cy="190500"/>
          </a:xfrm>
          <a:prstGeom prst="rect">
            <a:avLst/>
          </a:prstGeom>
        </p:spPr>
      </p:pic>
      <p:sp>
        <p:nvSpPr>
          <p:cNvPr id="10" name="Text Placeholder 23"/>
          <p:cNvSpPr>
            <a:spLocks noGrp="1"/>
          </p:cNvSpPr>
          <p:nvPr>
            <p:ph type="body" sz="quarter" idx="14" hasCustomPrompt="1"/>
          </p:nvPr>
        </p:nvSpPr>
        <p:spPr>
          <a:xfrm>
            <a:off x="309562" y="6118860"/>
            <a:ext cx="4519613" cy="381000"/>
          </a:xfrm>
          <a:prstGeom prst="rect">
            <a:avLst/>
          </a:prstGeo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
        <p:nvSpPr>
          <p:cNvPr id="11"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30160642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4" name="Rectangle 3"/>
          <p:cNvSpPr/>
          <p:nvPr userDrawn="1"/>
        </p:nvSpPr>
        <p:spPr>
          <a:xfrm>
            <a:off x="4953000" y="0"/>
            <a:ext cx="4953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p:nvPr>
        </p:nvSpPr>
        <p:spPr>
          <a:xfrm>
            <a:off x="309563" y="1714500"/>
            <a:ext cx="4457700" cy="952500"/>
          </a:xfrm>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309563" y="2971800"/>
            <a:ext cx="4457700" cy="3124200"/>
          </a:xfrm>
          <a:prstGeom prst="rect">
            <a:avLst/>
          </a:prstGeom>
        </p:spPr>
        <p:txBody>
          <a:bodyPr tIns="0">
            <a:noAutofit/>
          </a:bodyPr>
          <a:lstStyle>
            <a:lvl1pPr>
              <a:defRPr sz="1800">
                <a:solidFill>
                  <a:schemeClr val="accent2"/>
                </a:solidFill>
              </a:defRPr>
            </a:lvl1pPr>
            <a:lvl2pPr>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endParaRPr lang="en-US" dirty="0"/>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5107781" y="1714500"/>
            <a:ext cx="4457700" cy="4381500"/>
          </a:xfrm>
          <a:prstGeom prst="rect">
            <a:avLst/>
          </a:prstGeo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212954" y="6515113"/>
            <a:ext cx="383309" cy="190501"/>
          </a:xfrm>
          <a:prstGeom prst="rect">
            <a:avLst/>
          </a:prstGeom>
        </p:spPr>
      </p:pic>
      <p:sp>
        <p:nvSpPr>
          <p:cNvPr id="10" name="Text Placeholder 23"/>
          <p:cNvSpPr>
            <a:spLocks noGrp="1"/>
          </p:cNvSpPr>
          <p:nvPr>
            <p:ph type="body" sz="quarter" idx="14" hasCustomPrompt="1"/>
          </p:nvPr>
        </p:nvSpPr>
        <p:spPr>
          <a:xfrm>
            <a:off x="309562" y="6118860"/>
            <a:ext cx="4519613" cy="381000"/>
          </a:xfrm>
          <a:prstGeom prst="rect">
            <a:avLst/>
          </a:prstGeo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
        <p:nvSpPr>
          <p:cNvPr id="11"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23824695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rgbClr val="F3F3F3"/>
        </a:solidFill>
        <a:effectLst/>
      </p:bgPr>
    </p:bg>
    <p:spTree>
      <p:nvGrpSpPr>
        <p:cNvPr id="1" name=""/>
        <p:cNvGrpSpPr/>
        <p:nvPr/>
      </p:nvGrpSpPr>
      <p:grpSpPr>
        <a:xfrm>
          <a:off x="0" y="0"/>
          <a:ext cx="0" cy="0"/>
          <a:chOff x="0" y="0"/>
          <a:chExt cx="0" cy="0"/>
        </a:xfrm>
      </p:grpSpPr>
      <p:sp>
        <p:nvSpPr>
          <p:cNvPr id="4" name="Rectangle 3"/>
          <p:cNvSpPr/>
          <p:nvPr userDrawn="1"/>
        </p:nvSpPr>
        <p:spPr>
          <a:xfrm>
            <a:off x="4953000" y="-6927"/>
            <a:ext cx="4953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p:nvPr>
        </p:nvSpPr>
        <p:spPr>
          <a:xfrm>
            <a:off x="309563" y="1714500"/>
            <a:ext cx="4457700" cy="952500"/>
          </a:xfrm>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309563" y="2971800"/>
            <a:ext cx="4457700" cy="3124200"/>
          </a:xfrm>
          <a:prstGeom prst="rect">
            <a:avLst/>
          </a:prstGeom>
        </p:spPr>
        <p:txBody>
          <a:bodyPr tIns="0">
            <a:noAutofit/>
          </a:bodyPr>
          <a:lstStyle>
            <a:lvl1pPr>
              <a:defRPr sz="1800">
                <a:solidFill>
                  <a:schemeClr val="accent2"/>
                </a:solidFill>
              </a:defRPr>
            </a:lvl1pPr>
            <a:lvl2pPr>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endParaRPr lang="en-US" dirty="0"/>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5107781" y="1714500"/>
            <a:ext cx="4457700" cy="4381500"/>
          </a:xfrm>
          <a:prstGeom prst="rect">
            <a:avLst/>
          </a:prstGeo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212954" y="6515113"/>
            <a:ext cx="383309" cy="190501"/>
          </a:xfrm>
          <a:prstGeom prst="rect">
            <a:avLst/>
          </a:prstGeom>
        </p:spPr>
      </p:pic>
      <p:sp>
        <p:nvSpPr>
          <p:cNvPr id="10" name="Text Placeholder 23"/>
          <p:cNvSpPr>
            <a:spLocks noGrp="1"/>
          </p:cNvSpPr>
          <p:nvPr>
            <p:ph type="body" sz="quarter" idx="14" hasCustomPrompt="1"/>
          </p:nvPr>
        </p:nvSpPr>
        <p:spPr>
          <a:xfrm>
            <a:off x="309562" y="6118860"/>
            <a:ext cx="4519613" cy="381000"/>
          </a:xfrm>
          <a:prstGeom prst="rect">
            <a:avLst/>
          </a:prstGeo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
        <p:nvSpPr>
          <p:cNvPr id="11"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3163766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2-9_Title and Content">
    <p:spTree>
      <p:nvGrpSpPr>
        <p:cNvPr id="1" name=""/>
        <p:cNvGrpSpPr/>
        <p:nvPr/>
      </p:nvGrpSpPr>
      <p:grpSpPr>
        <a:xfrm>
          <a:off x="0" y="0"/>
          <a:ext cx="0" cy="0"/>
          <a:chOff x="0" y="0"/>
          <a:chExt cx="0" cy="0"/>
        </a:xfrm>
      </p:grpSpPr>
      <p:sp>
        <p:nvSpPr>
          <p:cNvPr id="4" name="Rectangle 3"/>
          <p:cNvSpPr/>
          <p:nvPr userDrawn="1"/>
        </p:nvSpPr>
        <p:spPr>
          <a:xfrm>
            <a:off x="4953000" y="0"/>
            <a:ext cx="4953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a:solidFill>
                <a:srgbClr val="051243"/>
              </a:solidFill>
            </a:endParaRPr>
          </a:p>
        </p:txBody>
      </p:sp>
      <p:sp>
        <p:nvSpPr>
          <p:cNvPr id="6" name="Rectangle 5"/>
          <p:cNvSpPr/>
          <p:nvPr userDrawn="1"/>
        </p:nvSpPr>
        <p:spPr>
          <a:xfrm flipH="1">
            <a:off x="0" y="1058"/>
            <a:ext cx="4953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hasCustomPrompt="1"/>
          </p:nvPr>
        </p:nvSpPr>
        <p:spPr>
          <a:xfrm>
            <a:off x="309563" y="571500"/>
            <a:ext cx="4439126" cy="952500"/>
          </a:xfrm>
        </p:spPr>
        <p:txBody>
          <a:bodyPr>
            <a:noAutofit/>
          </a:bodyPr>
          <a:lstStyle>
            <a:lvl1pPr>
              <a:defRPr>
                <a:solidFill>
                  <a:schemeClr val="bg2"/>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4457700" cy="4381500"/>
          </a:xfrm>
          <a:prstGeom prst="rect">
            <a:avLst/>
          </a:prstGeom>
        </p:spPr>
        <p:txBody>
          <a:bodyPr tIns="0">
            <a:noAutofit/>
          </a:bodyPr>
          <a:lstStyle>
            <a:lvl1pPr>
              <a:defRPr>
                <a:latin typeface="IBM Plex Sans" charset="0"/>
                <a:ea typeface="IBM Plex Sans" charset="0"/>
                <a:cs typeface="IBM Plex Sans" charset="0"/>
              </a:defRPr>
            </a:lvl1pPr>
            <a:lvl2pPr>
              <a:defRPr>
                <a:latin typeface="IBM Plex Sans" charset="0"/>
                <a:ea typeface="IBM Plex Sans" charset="0"/>
                <a:cs typeface="IBM Plex Sans" charset="0"/>
              </a:defRPr>
            </a:lvl2pPr>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5107781" y="1714500"/>
            <a:ext cx="4457700" cy="4381500"/>
          </a:xfrm>
          <a:prstGeom prst="rect">
            <a:avLst/>
          </a:prstGeom>
        </p:spPr>
        <p:txBody>
          <a:bodyPr tIns="0">
            <a:noAutofit/>
          </a:bodyPr>
          <a:lstStyle>
            <a:lvl1pPr>
              <a:defRPr>
                <a:latin typeface="IBM Plex Sans" charset="0"/>
                <a:ea typeface="IBM Plex Sans" charset="0"/>
                <a:cs typeface="IBM Plex Sans" charset="0"/>
              </a:defRPr>
            </a:lvl1pPr>
            <a:lvl2pPr>
              <a:defRPr>
                <a:latin typeface="IBM Plex Sans" charset="0"/>
                <a:ea typeface="IBM Plex Sans" charset="0"/>
                <a:cs typeface="IBM Plex Sans" charset="0"/>
              </a:defRPr>
            </a:lvl2pPr>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a:prstGeom prst="rect">
            <a:avLst/>
          </a:prstGeo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309563" y="6118860"/>
            <a:ext cx="4457700" cy="381000"/>
          </a:xfrm>
          <a:prstGeom prst="rect">
            <a:avLst/>
          </a:prstGeom>
        </p:spPr>
        <p:txBody>
          <a:bodyPr tIns="0" anchor="b"/>
          <a:lstStyle>
            <a:lvl1pPr>
              <a:defRPr sz="600" b="0">
                <a:solidFill>
                  <a:schemeClr val="bg2">
                    <a:alpha val="70000"/>
                  </a:schemeClr>
                </a:solidFill>
                <a:latin typeface="IBM Plex Sans" charset="0"/>
                <a:ea typeface="IBM Plex Sans" charset="0"/>
                <a:cs typeface="IBM Plex Sans" charset="0"/>
              </a:defRPr>
            </a:lvl1pPr>
            <a:lvl2pPr>
              <a:defRPr sz="700"/>
            </a:lvl2pPr>
            <a:lvl3pPr>
              <a:defRPr sz="700"/>
            </a:lvl3pPr>
            <a:lvl4pPr>
              <a:defRPr sz="700"/>
            </a:lvl4pPr>
            <a:lvl5pPr>
              <a:defRPr sz="700"/>
            </a:lvl5pPr>
          </a:lstStyle>
          <a:p>
            <a:pPr lvl="0"/>
            <a:r>
              <a:rPr lang="en-US" dirty="0"/>
              <a:t>Source: Edit source here</a:t>
            </a:r>
          </a:p>
        </p:txBody>
      </p:sp>
      <p:grpSp>
        <p:nvGrpSpPr>
          <p:cNvPr id="12" name="Group 11"/>
          <p:cNvGrpSpPr/>
          <p:nvPr userDrawn="1"/>
        </p:nvGrpSpPr>
        <p:grpSpPr>
          <a:xfrm>
            <a:off x="619125" y="6583046"/>
            <a:ext cx="1837164" cy="183809"/>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a:t>
              </a:r>
              <a:r>
                <a:rPr lang="en-US" sz="300" b="0" dirty="0">
                  <a:solidFill>
                    <a:srgbClr val="FFFFFF">
                      <a:alpha val="60000"/>
                    </a:srgbClr>
                  </a:solidFill>
                  <a:latin typeface="IBM Plex Sans" charset="0"/>
                  <a:ea typeface="IBM Plex Sans" charset="0"/>
                  <a:cs typeface="IBM Plex Sans" charset="0"/>
                </a:rPr>
                <a:t> </a:t>
              </a:r>
              <a:r>
                <a:rPr lang="en-US" sz="600" b="0" dirty="0">
                  <a:solidFill>
                    <a:srgbClr val="FFFFFF">
                      <a:alpha val="60000"/>
                    </a:srgbClr>
                  </a:solidFill>
                  <a:latin typeface="IBM Plex Sans" charset="0"/>
                  <a:ea typeface="IBM Plex Sans" charset="0"/>
                  <a:cs typeface="IBM Plex Sans" charset="0"/>
                </a:rPr>
                <a:t>2018 IBM Corporation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FFFFFF">
                      <a:alpha val="60000"/>
                    </a:srgbClr>
                  </a:solidFill>
                  <a:latin typeface="IBM Plex Sans" charset="0"/>
                  <a:ea typeface="IBM Plex Sans" charset="0"/>
                  <a:cs typeface="IBM Plex Sans" charset="0"/>
                </a:rPr>
                <a:t> </a:t>
              </a:r>
              <a:fld id="{7C9968D1-C8E5-4FE3-AED4-7D4518C301B3}" type="datetime3">
                <a:rPr lang="en-US" sz="600" b="0" smtClean="0">
                  <a:solidFill>
                    <a:srgbClr val="FFFFFF">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FFFFFF">
                    <a:alpha val="60000"/>
                  </a:srgbClr>
                </a:solidFill>
                <a:latin typeface="IBM Plex Sans" charset="0"/>
                <a:ea typeface="IBM Plex Sans" charset="0"/>
                <a:cs typeface="IBM Plex Sans" charset="0"/>
              </a:endParaRPr>
            </a:p>
          </p:txBody>
        </p:sp>
      </p:grpSp>
      <p:sp>
        <p:nvSpPr>
          <p:cNvPr id="16"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946" y="6515119"/>
            <a:ext cx="383309" cy="190500"/>
          </a:xfrm>
          <a:prstGeom prst="rect">
            <a:avLst/>
          </a:prstGeom>
        </p:spPr>
      </p:pic>
      <p:sp>
        <p:nvSpPr>
          <p:cNvPr id="18" name="Footer Placeholder 3"/>
          <p:cNvSpPr txBox="1">
            <a:spLocks/>
          </p:cNvSpPr>
          <p:nvPr userDrawn="1"/>
        </p:nvSpPr>
        <p:spPr>
          <a:xfrm>
            <a:off x="2631281" y="6583680"/>
            <a:ext cx="154674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IBM Institute for Business Value</a:t>
            </a:r>
          </a:p>
        </p:txBody>
      </p:sp>
    </p:spTree>
    <p:extLst>
      <p:ext uri="{BB962C8B-B14F-4D97-AF65-F5344CB8AC3E}">
        <p14:creationId xmlns:p14="http://schemas.microsoft.com/office/powerpoint/2010/main" val="9948747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2-9_Title and Content">
    <p:spTree>
      <p:nvGrpSpPr>
        <p:cNvPr id="1" name=""/>
        <p:cNvGrpSpPr/>
        <p:nvPr/>
      </p:nvGrpSpPr>
      <p:grpSpPr>
        <a:xfrm>
          <a:off x="0" y="0"/>
          <a:ext cx="0" cy="0"/>
          <a:chOff x="0" y="0"/>
          <a:chExt cx="0" cy="0"/>
        </a:xfrm>
      </p:grpSpPr>
      <p:sp>
        <p:nvSpPr>
          <p:cNvPr id="6" name="Rectangle 5"/>
          <p:cNvSpPr/>
          <p:nvPr userDrawn="1"/>
        </p:nvSpPr>
        <p:spPr>
          <a:xfrm flipH="1">
            <a:off x="0" y="1058"/>
            <a:ext cx="4953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hasCustomPrompt="1"/>
          </p:nvPr>
        </p:nvSpPr>
        <p:spPr>
          <a:xfrm>
            <a:off x="309563" y="571500"/>
            <a:ext cx="4439126" cy="952500"/>
          </a:xfrm>
        </p:spPr>
        <p:txBody>
          <a:bodyPr>
            <a:noAutofit/>
          </a:bodyPr>
          <a:lstStyle>
            <a:lvl1pPr>
              <a:defRPr>
                <a:solidFill>
                  <a:schemeClr val="bg2"/>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4457700" cy="4381500"/>
          </a:xfrm>
          <a:prstGeom prst="rect">
            <a:avLst/>
          </a:prstGeom>
        </p:spPr>
        <p:txBody>
          <a:bodyPr tIns="0">
            <a:noAutofit/>
          </a:bodyPr>
          <a:lstStyle>
            <a:lvl1pPr>
              <a:defRPr>
                <a:latin typeface="IBM Plex Sans" charset="0"/>
                <a:ea typeface="IBM Plex Sans" charset="0"/>
                <a:cs typeface="IBM Plex Sans" charset="0"/>
              </a:defRPr>
            </a:lvl1pPr>
            <a:lvl2pPr>
              <a:defRPr>
                <a:latin typeface="IBM Plex Sans" charset="0"/>
                <a:ea typeface="IBM Plex Sans" charset="0"/>
                <a:cs typeface="IBM Plex Sans" charset="0"/>
              </a:defRPr>
            </a:lvl2pPr>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5107781" y="1714500"/>
            <a:ext cx="4457700" cy="4381500"/>
          </a:xfrm>
          <a:prstGeom prst="rect">
            <a:avLst/>
          </a:prstGeom>
        </p:spPr>
        <p:txBody>
          <a:bodyPr tIns="0">
            <a:noAutofit/>
          </a:bodyPr>
          <a:lstStyle>
            <a:lvl1pPr>
              <a:defRPr>
                <a:latin typeface="IBM Plex Sans" charset="0"/>
                <a:ea typeface="IBM Plex Sans" charset="0"/>
                <a:cs typeface="IBM Plex Sans" charset="0"/>
              </a:defRPr>
            </a:lvl1pPr>
            <a:lvl2pPr>
              <a:defRPr>
                <a:latin typeface="IBM Plex Sans" charset="0"/>
                <a:ea typeface="IBM Plex Sans" charset="0"/>
                <a:cs typeface="IBM Plex Sans" charset="0"/>
              </a:defRPr>
            </a:lvl2pPr>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a:prstGeom prst="rect">
            <a:avLst/>
          </a:prstGeo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309563" y="6118860"/>
            <a:ext cx="4457700" cy="381000"/>
          </a:xfrm>
          <a:prstGeom prst="rect">
            <a:avLst/>
          </a:prstGeom>
        </p:spPr>
        <p:txBody>
          <a:bodyPr tIns="0" anchor="b"/>
          <a:lstStyle>
            <a:lvl1pPr>
              <a:defRPr sz="600" b="0">
                <a:solidFill>
                  <a:schemeClr val="bg2">
                    <a:alpha val="70000"/>
                  </a:schemeClr>
                </a:solidFill>
                <a:latin typeface="IBM Plex Sans" charset="0"/>
                <a:ea typeface="IBM Plex Sans" charset="0"/>
                <a:cs typeface="IBM Plex Sans" charset="0"/>
              </a:defRPr>
            </a:lvl1pPr>
            <a:lvl2pPr>
              <a:defRPr sz="700"/>
            </a:lvl2pPr>
            <a:lvl3pPr>
              <a:defRPr sz="700"/>
            </a:lvl3pPr>
            <a:lvl4pPr>
              <a:defRPr sz="700"/>
            </a:lvl4pPr>
            <a:lvl5pPr>
              <a:defRPr sz="700"/>
            </a:lvl5pPr>
          </a:lstStyle>
          <a:p>
            <a:pPr lvl="0"/>
            <a:r>
              <a:rPr lang="en-US" dirty="0"/>
              <a:t>Source: Edit source here</a:t>
            </a:r>
          </a:p>
        </p:txBody>
      </p:sp>
      <p:grpSp>
        <p:nvGrpSpPr>
          <p:cNvPr id="12" name="Group 11"/>
          <p:cNvGrpSpPr/>
          <p:nvPr userDrawn="1"/>
        </p:nvGrpSpPr>
        <p:grpSpPr>
          <a:xfrm>
            <a:off x="619125" y="6583046"/>
            <a:ext cx="1837164" cy="183809"/>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a:t>
              </a:r>
              <a:r>
                <a:rPr lang="en-US" sz="300" b="0" dirty="0">
                  <a:solidFill>
                    <a:srgbClr val="FFFFFF">
                      <a:alpha val="60000"/>
                    </a:srgbClr>
                  </a:solidFill>
                  <a:latin typeface="IBM Plex Sans" charset="0"/>
                  <a:ea typeface="IBM Plex Sans" charset="0"/>
                  <a:cs typeface="IBM Plex Sans" charset="0"/>
                </a:rPr>
                <a:t> </a:t>
              </a:r>
              <a:r>
                <a:rPr lang="en-US" sz="600" b="0" dirty="0">
                  <a:solidFill>
                    <a:srgbClr val="FFFFFF">
                      <a:alpha val="60000"/>
                    </a:srgbClr>
                  </a:solidFill>
                  <a:latin typeface="IBM Plex Sans" charset="0"/>
                  <a:ea typeface="IBM Plex Sans" charset="0"/>
                  <a:cs typeface="IBM Plex Sans" charset="0"/>
                </a:rPr>
                <a:t>2018 IBM Corporation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FFFFFF">
                      <a:alpha val="60000"/>
                    </a:srgbClr>
                  </a:solidFill>
                  <a:latin typeface="IBM Plex Sans" charset="0"/>
                  <a:ea typeface="IBM Plex Sans" charset="0"/>
                  <a:cs typeface="IBM Plex Sans" charset="0"/>
                </a:rPr>
                <a:t> </a:t>
              </a:r>
              <a:fld id="{7C9968D1-C8E5-4FE3-AED4-7D4518C301B3}" type="datetime3">
                <a:rPr lang="en-US" sz="600" b="0" smtClean="0">
                  <a:solidFill>
                    <a:srgbClr val="FFFFFF">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FFFFFF">
                    <a:alpha val="60000"/>
                  </a:srgbClr>
                </a:solidFill>
                <a:latin typeface="IBM Plex Sans" charset="0"/>
                <a:ea typeface="IBM Plex Sans" charset="0"/>
                <a:cs typeface="IBM Plex Sans" charset="0"/>
              </a:endParaRPr>
            </a:p>
          </p:txBody>
        </p:sp>
      </p:grpSp>
      <p:sp>
        <p:nvSpPr>
          <p:cNvPr id="16"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946" y="6515119"/>
            <a:ext cx="383309" cy="190500"/>
          </a:xfrm>
          <a:prstGeom prst="rect">
            <a:avLst/>
          </a:prstGeom>
        </p:spPr>
      </p:pic>
      <p:sp>
        <p:nvSpPr>
          <p:cNvPr id="18" name="Footer Placeholder 3"/>
          <p:cNvSpPr txBox="1">
            <a:spLocks/>
          </p:cNvSpPr>
          <p:nvPr userDrawn="1"/>
        </p:nvSpPr>
        <p:spPr>
          <a:xfrm>
            <a:off x="2631281" y="6583680"/>
            <a:ext cx="154674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IBM Institute for Business Value</a:t>
            </a:r>
          </a:p>
        </p:txBody>
      </p:sp>
    </p:spTree>
    <p:extLst>
      <p:ext uri="{BB962C8B-B14F-4D97-AF65-F5344CB8AC3E}">
        <p14:creationId xmlns:p14="http://schemas.microsoft.com/office/powerpoint/2010/main" val="1514923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p>
        </p:txBody>
      </p:sp>
      <p:sp>
        <p:nvSpPr>
          <p:cNvPr id="3" name="내용 개체 틀 2"/>
          <p:cNvSpPr>
            <a:spLocks noGrp="1"/>
          </p:cNvSpPr>
          <p:nvPr>
            <p:ph idx="1"/>
          </p:nvPr>
        </p:nvSpPr>
        <p:spPr>
          <a:xfrm>
            <a:off x="241300" y="1027113"/>
            <a:ext cx="9420225" cy="200055"/>
          </a:xfrm>
        </p:spPr>
        <p:txBody>
          <a:bodyPr/>
          <a:lstStyle/>
          <a:p>
            <a:pPr lvl="0"/>
            <a:r>
              <a:rPr lang="ko-KR" altLang="en-US" dirty="0"/>
              <a:t>마스터 텍스트 스타일을 편집합니다</a:t>
            </a:r>
          </a:p>
        </p:txBody>
      </p:sp>
    </p:spTree>
    <p:extLst>
      <p:ext uri="{BB962C8B-B14F-4D97-AF65-F5344CB8AC3E}">
        <p14:creationId xmlns:p14="http://schemas.microsoft.com/office/powerpoint/2010/main" val="38696715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 one column format">
    <p:spTree>
      <p:nvGrpSpPr>
        <p:cNvPr id="1" name=""/>
        <p:cNvGrpSpPr/>
        <p:nvPr/>
      </p:nvGrpSpPr>
      <p:grpSpPr>
        <a:xfrm>
          <a:off x="0" y="0"/>
          <a:ext cx="0" cy="0"/>
          <a:chOff x="0" y="0"/>
          <a:chExt cx="0" cy="0"/>
        </a:xfrm>
      </p:grpSpPr>
      <p:sp>
        <p:nvSpPr>
          <p:cNvPr id="13" name="Title 12"/>
          <p:cNvSpPr>
            <a:spLocks noGrp="1"/>
          </p:cNvSpPr>
          <p:nvPr>
            <p:ph type="title"/>
          </p:nvPr>
        </p:nvSpPr>
        <p:spPr>
          <a:xfrm>
            <a:off x="392457" y="365760"/>
            <a:ext cx="8820124" cy="1036320"/>
          </a:xfrm>
          <a:prstGeom prst="rect">
            <a:avLst/>
          </a:prstGeom>
        </p:spPr>
        <p:txBody>
          <a:bodyPr lIns="0" tIns="0" rIns="0" bIns="0"/>
          <a:lstStyle>
            <a:lvl1pPr>
              <a:defRPr>
                <a:solidFill>
                  <a:schemeClr val="tx1"/>
                </a:solidFill>
              </a:defRPr>
            </a:lvl1pPr>
          </a:lstStyle>
          <a:p>
            <a:r>
              <a:rPr lang="en-US" dirty="0"/>
              <a:t>Click to edit Master title style</a:t>
            </a:r>
          </a:p>
        </p:txBody>
      </p:sp>
      <p:sp>
        <p:nvSpPr>
          <p:cNvPr id="15" name="Text Placeholder 14"/>
          <p:cNvSpPr>
            <a:spLocks noGrp="1"/>
          </p:cNvSpPr>
          <p:nvPr>
            <p:ph type="body" sz="quarter" idx="10"/>
          </p:nvPr>
        </p:nvSpPr>
        <p:spPr>
          <a:xfrm>
            <a:off x="392457" y="1828799"/>
            <a:ext cx="8820124" cy="4221482"/>
          </a:xfrm>
          <a:prstGeom prst="rect">
            <a:avLst/>
          </a:prstGeom>
        </p:spPr>
        <p:txBody>
          <a:bodyPr lIns="0" tIns="0" rIns="0" bIns="0"/>
          <a:lstStyle>
            <a:lvl1pPr algn="l">
              <a:spcBef>
                <a:spcPts val="1056"/>
              </a:spcBef>
              <a:defRPr sz="1600"/>
            </a:lvl1pPr>
            <a:lvl2pPr marL="536424" indent="-268212" algn="l">
              <a:defRPr sz="1600"/>
            </a:lvl2pPr>
            <a:lvl3pPr marL="804635" indent="-268212" algn="l">
              <a:defRPr sz="16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22014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4-6_Title and Content">
    <p:spTree>
      <p:nvGrpSpPr>
        <p:cNvPr id="1" name=""/>
        <p:cNvGrpSpPr/>
        <p:nvPr/>
      </p:nvGrpSpPr>
      <p:grpSpPr>
        <a:xfrm>
          <a:off x="0" y="0"/>
          <a:ext cx="0" cy="0"/>
          <a:chOff x="0" y="0"/>
          <a:chExt cx="0" cy="0"/>
        </a:xfrm>
      </p:grpSpPr>
      <p:sp>
        <p:nvSpPr>
          <p:cNvPr id="15" name="Content Placeholder 2"/>
          <p:cNvSpPr>
            <a:spLocks noGrp="1"/>
          </p:cNvSpPr>
          <p:nvPr>
            <p:ph idx="12"/>
          </p:nvPr>
        </p:nvSpPr>
        <p:spPr>
          <a:xfrm>
            <a:off x="0" y="0"/>
            <a:ext cx="9906000" cy="6858000"/>
          </a:xfrm>
          <a:prstGeom prst="rect">
            <a:avLst/>
          </a:prstGeom>
          <a:noFill/>
        </p:spPr>
        <p:txBody>
          <a:bodyPr lIns="335265" tIns="181043" rIns="167632">
            <a:noAutofit/>
          </a:bodyPr>
          <a:lstStyle>
            <a:lvl1pPr>
              <a:defRPr sz="1200" b="0" i="0">
                <a:solidFill>
                  <a:schemeClr val="accent1"/>
                </a:solidFill>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p:txBody>
      </p:sp>
      <p:sp>
        <p:nvSpPr>
          <p:cNvPr id="10" name="Content Placeholder 2"/>
          <p:cNvSpPr>
            <a:spLocks noGrp="1"/>
          </p:cNvSpPr>
          <p:nvPr>
            <p:ph idx="16"/>
          </p:nvPr>
        </p:nvSpPr>
        <p:spPr>
          <a:xfrm>
            <a:off x="2476500" y="1714500"/>
            <a:ext cx="2476500" cy="5143500"/>
          </a:xfrm>
        </p:spPr>
        <p:txBody>
          <a:bodyPr lIns="167632" tIns="0" rIns="167632">
            <a:noAutofit/>
          </a:bodyPr>
          <a:lstStyle>
            <a:lvl1pPr>
              <a:defRPr sz="1500" b="0">
                <a:solidFill>
                  <a:schemeClr val="bg2"/>
                </a:solidFill>
                <a:latin typeface="IBM Plex Sans" charset="0"/>
                <a:ea typeface="IBM Plex Sans" charset="0"/>
                <a:cs typeface="IBM Plex Sans" charset="0"/>
              </a:defRPr>
            </a:lvl1pPr>
            <a:lvl2pPr>
              <a:defRPr sz="1600" b="1">
                <a:solidFill>
                  <a:schemeClr val="bg2"/>
                </a:solidFill>
                <a:latin typeface="IBM Plex Sans" charset="0"/>
                <a:ea typeface="IBM Plex Sans" charset="0"/>
                <a:cs typeface="IBM Plex Sans" charset="0"/>
              </a:defRPr>
            </a:lvl2pPr>
            <a:lvl3pPr>
              <a:defRPr sz="1600" b="1">
                <a:solidFill>
                  <a:schemeClr val="bg2"/>
                </a:solidFill>
                <a:latin typeface="IBM Plex Sans" charset="0"/>
                <a:ea typeface="IBM Plex Sans" charset="0"/>
                <a:cs typeface="IBM Plex Sans" charset="0"/>
              </a:defRPr>
            </a:lvl3pPr>
            <a:lvl4pPr>
              <a:defRPr sz="1600" b="1">
                <a:solidFill>
                  <a:schemeClr val="bg2"/>
                </a:solidFill>
                <a:latin typeface="IBM Plex Sans" charset="0"/>
                <a:ea typeface="IBM Plex Sans" charset="0"/>
                <a:cs typeface="IBM Plex Sans" charset="0"/>
              </a:defRPr>
            </a:lvl4pPr>
            <a:lvl5pPr>
              <a:defRPr sz="1600" b="1">
                <a:solidFill>
                  <a:schemeClr val="bg2"/>
                </a:solidFill>
                <a:latin typeface="IBM Plex Sans" charset="0"/>
                <a:ea typeface="IBM Plex Sans" charset="0"/>
                <a:cs typeface="IBM Plex Sans" charset="0"/>
              </a:defRPr>
            </a:lvl5pPr>
          </a:lstStyle>
          <a:p>
            <a:pPr lvl="0"/>
            <a:r>
              <a:rPr lang="en-US" dirty="0"/>
              <a:t>Click to edit Master text styles</a:t>
            </a:r>
          </a:p>
        </p:txBody>
      </p:sp>
      <p:sp>
        <p:nvSpPr>
          <p:cNvPr id="9" name="Content Placeholder 2"/>
          <p:cNvSpPr>
            <a:spLocks noGrp="1"/>
          </p:cNvSpPr>
          <p:nvPr>
            <p:ph idx="15"/>
          </p:nvPr>
        </p:nvSpPr>
        <p:spPr>
          <a:xfrm>
            <a:off x="4953000" y="1714500"/>
            <a:ext cx="2476500" cy="5143500"/>
          </a:xfrm>
        </p:spPr>
        <p:txBody>
          <a:bodyPr lIns="167632" tIns="0" rIns="167632">
            <a:noAutofit/>
          </a:bodyPr>
          <a:lstStyle>
            <a:lvl1pPr>
              <a:defRPr sz="1500" b="0">
                <a:solidFill>
                  <a:schemeClr val="bg2"/>
                </a:solidFill>
                <a:latin typeface="IBM Plex Sans" charset="0"/>
                <a:ea typeface="IBM Plex Sans" charset="0"/>
                <a:cs typeface="IBM Plex Sans" charset="0"/>
              </a:defRPr>
            </a:lvl1pPr>
            <a:lvl2pPr>
              <a:defRPr>
                <a:solidFill>
                  <a:schemeClr val="bg2"/>
                </a:solidFill>
                <a:latin typeface="IBM Plex Sans" charset="0"/>
                <a:ea typeface="IBM Plex Sans" charset="0"/>
                <a:cs typeface="IBM Plex Sans" charset="0"/>
              </a:defRPr>
            </a:lvl2pPr>
            <a:lvl3pPr>
              <a:defRPr>
                <a:solidFill>
                  <a:schemeClr val="bg2"/>
                </a:solidFill>
                <a:latin typeface="IBM Plex Sans" charset="0"/>
                <a:ea typeface="IBM Plex Sans" charset="0"/>
                <a:cs typeface="IBM Plex Sans" charset="0"/>
              </a:defRPr>
            </a:lvl3pPr>
            <a:lvl4pPr>
              <a:defRPr>
                <a:solidFill>
                  <a:schemeClr val="bg2"/>
                </a:solidFill>
                <a:latin typeface="IBM Plex Sans" charset="0"/>
                <a:ea typeface="IBM Plex Sans" charset="0"/>
                <a:cs typeface="IBM Plex Sans" charset="0"/>
              </a:defRPr>
            </a:lvl4pPr>
            <a:lvl5pPr>
              <a:defRPr>
                <a:solidFill>
                  <a:schemeClr val="bg2"/>
                </a:solidFill>
                <a:latin typeface="IBM Plex Sans" charset="0"/>
                <a:ea typeface="IBM Plex Sans" charset="0"/>
                <a:cs typeface="IBM Plex Sans" charset="0"/>
              </a:defRPr>
            </a:lvl5pPr>
          </a:lstStyle>
          <a:p>
            <a:pPr lvl="0"/>
            <a:r>
              <a:rPr lang="en-US" dirty="0"/>
              <a:t>Click to edit Master </a:t>
            </a:r>
            <a:r>
              <a:rPr lang="en-US"/>
              <a:t>text styles</a:t>
            </a:r>
            <a:endParaRPr lang="en-US" dirty="0"/>
          </a:p>
        </p:txBody>
      </p:sp>
      <p:sp>
        <p:nvSpPr>
          <p:cNvPr id="11" name="Content Placeholder 2"/>
          <p:cNvSpPr>
            <a:spLocks noGrp="1"/>
          </p:cNvSpPr>
          <p:nvPr>
            <p:ph idx="17"/>
          </p:nvPr>
        </p:nvSpPr>
        <p:spPr>
          <a:xfrm>
            <a:off x="7429500" y="1714500"/>
            <a:ext cx="2476500" cy="5143500"/>
          </a:xfrm>
        </p:spPr>
        <p:txBody>
          <a:bodyPr lIns="167632" tIns="0" rIns="167632">
            <a:noAutofit/>
          </a:bodyPr>
          <a:lstStyle>
            <a:lvl1pPr>
              <a:defRPr sz="1500" b="0">
                <a:solidFill>
                  <a:schemeClr val="bg2"/>
                </a:solidFill>
                <a:latin typeface="IBM Plex Sans" charset="0"/>
                <a:ea typeface="IBM Plex Sans" charset="0"/>
                <a:cs typeface="IBM Plex Sans" charset="0"/>
              </a:defRPr>
            </a:lvl1pPr>
            <a:lvl2pPr>
              <a:defRPr sz="1600" b="1">
                <a:solidFill>
                  <a:schemeClr val="bg2"/>
                </a:solidFill>
                <a:latin typeface="IBM Plex Sans" charset="0"/>
                <a:ea typeface="IBM Plex Sans" charset="0"/>
                <a:cs typeface="IBM Plex Sans" charset="0"/>
              </a:defRPr>
            </a:lvl2pPr>
            <a:lvl3pPr>
              <a:defRPr sz="1600" b="1">
                <a:solidFill>
                  <a:schemeClr val="bg2"/>
                </a:solidFill>
                <a:latin typeface="IBM Plex Sans" charset="0"/>
                <a:ea typeface="IBM Plex Sans" charset="0"/>
                <a:cs typeface="IBM Plex Sans" charset="0"/>
              </a:defRPr>
            </a:lvl3pPr>
            <a:lvl4pPr>
              <a:defRPr sz="1600" b="1">
                <a:solidFill>
                  <a:schemeClr val="bg2"/>
                </a:solidFill>
                <a:latin typeface="IBM Plex Sans" charset="0"/>
                <a:ea typeface="IBM Plex Sans" charset="0"/>
                <a:cs typeface="IBM Plex Sans" charset="0"/>
              </a:defRPr>
            </a:lvl4pPr>
            <a:lvl5pPr>
              <a:defRPr sz="1600" b="1">
                <a:solidFill>
                  <a:schemeClr val="bg2"/>
                </a:solidFill>
                <a:latin typeface="IBM Plex Sans" charset="0"/>
                <a:ea typeface="IBM Plex Sans" charset="0"/>
                <a:cs typeface="IBM Plex Sans" charset="0"/>
              </a:defRPr>
            </a:lvl5pPr>
          </a:lstStyle>
          <a:p>
            <a:pPr lvl="0"/>
            <a:r>
              <a:rPr lang="en-US" dirty="0"/>
              <a:t>Click to edit Master text styles</a:t>
            </a:r>
          </a:p>
        </p:txBody>
      </p:sp>
      <p:sp>
        <p:nvSpPr>
          <p:cNvPr id="5" name="Title 1"/>
          <p:cNvSpPr>
            <a:spLocks noGrp="1"/>
          </p:cNvSpPr>
          <p:nvPr>
            <p:ph type="title"/>
          </p:nvPr>
        </p:nvSpPr>
        <p:spPr>
          <a:xfrm>
            <a:off x="309563" y="1714500"/>
            <a:ext cx="2012156" cy="3048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
        <p:nvSpPr>
          <p:cNvPr id="6" name="Content Placeholder 2"/>
          <p:cNvSpPr>
            <a:spLocks noGrp="1"/>
          </p:cNvSpPr>
          <p:nvPr>
            <p:ph idx="10"/>
          </p:nvPr>
        </p:nvSpPr>
        <p:spPr>
          <a:xfrm>
            <a:off x="4953000" y="0"/>
            <a:ext cx="2476500" cy="1714500"/>
          </a:xfrm>
        </p:spPr>
        <p:txBody>
          <a:bodyPr lIns="167632" tIns="167632" rIns="167632">
            <a:noAutofit/>
          </a:bodyPr>
          <a:lstStyle>
            <a:lvl1pPr>
              <a:defRPr sz="1600" b="1">
                <a:solidFill>
                  <a:schemeClr val="bg2"/>
                </a:solidFill>
                <a:latin typeface="IBM Plex Sans" charset="0"/>
                <a:ea typeface="IBM Plex Sans" charset="0"/>
                <a:cs typeface="IBM Plex Sans" charset="0"/>
              </a:defRPr>
            </a:lvl1pPr>
            <a:lvl2pPr>
              <a:defRPr>
                <a:solidFill>
                  <a:schemeClr val="bg2"/>
                </a:solidFill>
                <a:latin typeface="IBM Plex Sans" charset="0"/>
                <a:ea typeface="IBM Plex Sans" charset="0"/>
                <a:cs typeface="IBM Plex Sans" charset="0"/>
              </a:defRPr>
            </a:lvl2pPr>
            <a:lvl3pPr>
              <a:defRPr>
                <a:solidFill>
                  <a:schemeClr val="bg2"/>
                </a:solidFill>
                <a:latin typeface="IBM Plex Sans" charset="0"/>
                <a:ea typeface="IBM Plex Sans" charset="0"/>
                <a:cs typeface="IBM Plex Sans" charset="0"/>
              </a:defRPr>
            </a:lvl3pPr>
            <a:lvl4pPr>
              <a:defRPr>
                <a:solidFill>
                  <a:schemeClr val="bg2"/>
                </a:solidFill>
                <a:latin typeface="IBM Plex Sans" charset="0"/>
                <a:ea typeface="IBM Plex Sans" charset="0"/>
                <a:cs typeface="IBM Plex Sans" charset="0"/>
              </a:defRPr>
            </a:lvl4pPr>
            <a:lvl5pPr>
              <a:defRPr>
                <a:solidFill>
                  <a:schemeClr val="bg2"/>
                </a:solidFill>
                <a:latin typeface="IBM Plex Sans" charset="0"/>
                <a:ea typeface="IBM Plex Sans" charset="0"/>
                <a:cs typeface="IBM Plex Sans" charset="0"/>
              </a:defRPr>
            </a:lvl5pPr>
          </a:lstStyle>
          <a:p>
            <a:pPr lvl="0"/>
            <a:r>
              <a:rPr lang="en-US" dirty="0"/>
              <a:t>Click to edit Master </a:t>
            </a:r>
            <a:r>
              <a:rPr lang="en-US"/>
              <a:t>text styles</a:t>
            </a:r>
            <a:endParaRPr lang="en-US" dirty="0"/>
          </a:p>
        </p:txBody>
      </p:sp>
      <p:sp>
        <p:nvSpPr>
          <p:cNvPr id="7" name="Content Placeholder 2"/>
          <p:cNvSpPr>
            <a:spLocks noGrp="1"/>
          </p:cNvSpPr>
          <p:nvPr>
            <p:ph idx="13"/>
          </p:nvPr>
        </p:nvSpPr>
        <p:spPr>
          <a:xfrm>
            <a:off x="2476500" y="0"/>
            <a:ext cx="2476500" cy="1714500"/>
          </a:xfrm>
        </p:spPr>
        <p:txBody>
          <a:bodyPr lIns="167632" tIns="167632" rIns="167632">
            <a:noAutofit/>
          </a:bodyPr>
          <a:lstStyle>
            <a:lvl1pPr>
              <a:defRPr sz="1600" b="1">
                <a:solidFill>
                  <a:schemeClr val="bg2"/>
                </a:solidFill>
                <a:latin typeface="IBM Plex Sans" charset="0"/>
                <a:ea typeface="IBM Plex Sans" charset="0"/>
                <a:cs typeface="IBM Plex Sans" charset="0"/>
              </a:defRPr>
            </a:lvl1pPr>
            <a:lvl2pPr>
              <a:defRPr sz="1600" b="1">
                <a:solidFill>
                  <a:schemeClr val="bg2"/>
                </a:solidFill>
                <a:latin typeface="IBM Plex Sans" charset="0"/>
                <a:ea typeface="IBM Plex Sans" charset="0"/>
                <a:cs typeface="IBM Plex Sans" charset="0"/>
              </a:defRPr>
            </a:lvl2pPr>
            <a:lvl3pPr>
              <a:defRPr sz="1600" b="1">
                <a:solidFill>
                  <a:schemeClr val="bg2"/>
                </a:solidFill>
                <a:latin typeface="IBM Plex Sans" charset="0"/>
                <a:ea typeface="IBM Plex Sans" charset="0"/>
                <a:cs typeface="IBM Plex Sans" charset="0"/>
              </a:defRPr>
            </a:lvl3pPr>
            <a:lvl4pPr>
              <a:defRPr sz="1600" b="1">
                <a:solidFill>
                  <a:schemeClr val="bg2"/>
                </a:solidFill>
                <a:latin typeface="IBM Plex Sans" charset="0"/>
                <a:ea typeface="IBM Plex Sans" charset="0"/>
                <a:cs typeface="IBM Plex Sans" charset="0"/>
              </a:defRPr>
            </a:lvl4pPr>
            <a:lvl5pPr>
              <a:defRPr sz="1600" b="1">
                <a:solidFill>
                  <a:schemeClr val="bg2"/>
                </a:solidFill>
                <a:latin typeface="IBM Plex Sans" charset="0"/>
                <a:ea typeface="IBM Plex Sans" charset="0"/>
                <a:cs typeface="IBM Plex Sans" charset="0"/>
              </a:defRPr>
            </a:lvl5pPr>
          </a:lstStyle>
          <a:p>
            <a:pPr lvl="0"/>
            <a:r>
              <a:rPr lang="en-US" dirty="0"/>
              <a:t>Click to edit Master text styles</a:t>
            </a:r>
          </a:p>
        </p:txBody>
      </p:sp>
      <p:sp>
        <p:nvSpPr>
          <p:cNvPr id="8" name="Content Placeholder 2"/>
          <p:cNvSpPr>
            <a:spLocks noGrp="1"/>
          </p:cNvSpPr>
          <p:nvPr>
            <p:ph idx="14"/>
          </p:nvPr>
        </p:nvSpPr>
        <p:spPr>
          <a:xfrm>
            <a:off x="7429500" y="0"/>
            <a:ext cx="2476500" cy="1714500"/>
          </a:xfrm>
        </p:spPr>
        <p:txBody>
          <a:bodyPr lIns="167632" tIns="167632" rIns="167632">
            <a:noAutofit/>
          </a:bodyPr>
          <a:lstStyle>
            <a:lvl1pPr>
              <a:defRPr sz="1600" b="1">
                <a:solidFill>
                  <a:schemeClr val="bg2"/>
                </a:solidFill>
                <a:latin typeface="IBM Plex Sans" charset="0"/>
                <a:ea typeface="IBM Plex Sans" charset="0"/>
                <a:cs typeface="IBM Plex Sans" charset="0"/>
              </a:defRPr>
            </a:lvl1pPr>
            <a:lvl2pPr>
              <a:defRPr sz="1600" b="1">
                <a:solidFill>
                  <a:schemeClr val="bg2"/>
                </a:solidFill>
                <a:latin typeface="IBM Plex Sans" charset="0"/>
                <a:ea typeface="IBM Plex Sans" charset="0"/>
                <a:cs typeface="IBM Plex Sans" charset="0"/>
              </a:defRPr>
            </a:lvl2pPr>
            <a:lvl3pPr>
              <a:defRPr sz="1600" b="1">
                <a:solidFill>
                  <a:schemeClr val="bg2"/>
                </a:solidFill>
                <a:latin typeface="IBM Plex Sans" charset="0"/>
                <a:ea typeface="IBM Plex Sans" charset="0"/>
                <a:cs typeface="IBM Plex Sans" charset="0"/>
              </a:defRPr>
            </a:lvl3pPr>
            <a:lvl4pPr>
              <a:defRPr sz="1600" b="1">
                <a:solidFill>
                  <a:schemeClr val="bg2"/>
                </a:solidFill>
                <a:latin typeface="IBM Plex Sans" charset="0"/>
                <a:ea typeface="IBM Plex Sans" charset="0"/>
                <a:cs typeface="IBM Plex Sans" charset="0"/>
              </a:defRPr>
            </a:lvl4pPr>
            <a:lvl5pPr>
              <a:defRPr sz="1600" b="1">
                <a:solidFill>
                  <a:schemeClr val="bg2"/>
                </a:solidFill>
                <a:latin typeface="IBM Plex Sans" charset="0"/>
                <a:ea typeface="IBM Plex Sans" charset="0"/>
                <a:cs typeface="IBM Plex Sans" charset="0"/>
              </a:defRPr>
            </a:lvl5pPr>
          </a:lstStyle>
          <a:p>
            <a:pPr lvl="0"/>
            <a:r>
              <a:rPr lang="en-US" dirty="0"/>
              <a:t>Click to edit Master text styles</a:t>
            </a:r>
          </a:p>
        </p:txBody>
      </p:sp>
    </p:spTree>
    <p:extLst>
      <p:ext uri="{BB962C8B-B14F-4D97-AF65-F5344CB8AC3E}">
        <p14:creationId xmlns:p14="http://schemas.microsoft.com/office/powerpoint/2010/main" val="22135505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4-6_Title and Content">
    <p:spTree>
      <p:nvGrpSpPr>
        <p:cNvPr id="1" name=""/>
        <p:cNvGrpSpPr/>
        <p:nvPr/>
      </p:nvGrpSpPr>
      <p:grpSpPr>
        <a:xfrm>
          <a:off x="0" y="0"/>
          <a:ext cx="0" cy="0"/>
          <a:chOff x="0" y="0"/>
          <a:chExt cx="0" cy="0"/>
        </a:xfrm>
      </p:grpSpPr>
      <p:sp>
        <p:nvSpPr>
          <p:cNvPr id="15" name="Content Placeholder 2"/>
          <p:cNvSpPr>
            <a:spLocks noGrp="1"/>
          </p:cNvSpPr>
          <p:nvPr>
            <p:ph idx="12"/>
          </p:nvPr>
        </p:nvSpPr>
        <p:spPr>
          <a:xfrm>
            <a:off x="0" y="0"/>
            <a:ext cx="9906000" cy="6857998"/>
          </a:xfrm>
          <a:prstGeom prst="rect">
            <a:avLst/>
          </a:prstGeom>
          <a:noFill/>
        </p:spPr>
        <p:txBody>
          <a:bodyPr lIns="335265" tIns="181043" rIns="167632">
            <a:noAutofit/>
          </a:bodyPr>
          <a:lstStyle>
            <a:lvl1pPr>
              <a:defRPr sz="1200" b="0" i="0">
                <a:solidFill>
                  <a:schemeClr val="accent1"/>
                </a:solidFill>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p:txBody>
      </p:sp>
      <p:sp>
        <p:nvSpPr>
          <p:cNvPr id="2" name="Title 1"/>
          <p:cNvSpPr>
            <a:spLocks noGrp="1"/>
          </p:cNvSpPr>
          <p:nvPr>
            <p:ph type="title"/>
          </p:nvPr>
        </p:nvSpPr>
        <p:spPr>
          <a:xfrm>
            <a:off x="309562" y="1714500"/>
            <a:ext cx="4643438" cy="3048000"/>
          </a:xfrm>
        </p:spPr>
        <p:txBody>
          <a:bodyPr>
            <a:noAutofit/>
          </a:bodyPr>
          <a:lstStyle>
            <a:lvl1pPr>
              <a:defRPr sz="4000" b="1">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3712808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10" name="Content Placeholder 4"/>
          <p:cNvSpPr>
            <a:spLocks noGrp="1"/>
          </p:cNvSpPr>
          <p:nvPr>
            <p:ph sz="quarter" idx="18"/>
          </p:nvPr>
        </p:nvSpPr>
        <p:spPr>
          <a:xfrm>
            <a:off x="0" y="3429000"/>
            <a:ext cx="2476500" cy="3429000"/>
          </a:xfrm>
          <a:prstGeom prst="rect">
            <a:avLst/>
          </a:prstGeom>
          <a:solidFill>
            <a:schemeClr val="bg2"/>
          </a:solidFill>
        </p:spPr>
        <p:txBody>
          <a:bodyPr lIns="335265" tIns="167632" rIns="167632" bIns="167632"/>
          <a:lstStyle>
            <a:lvl1pPr>
              <a:defRPr sz="1500" b="0" i="0">
                <a:solidFill>
                  <a:schemeClr val="tx1"/>
                </a:solidFill>
                <a:latin typeface="IBM Plex Sans" charset="0"/>
                <a:ea typeface="IBM Plex Sans" charset="0"/>
                <a:cs typeface="IBM Plex Sans"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 name="Title 5"/>
          <p:cNvSpPr txBox="1">
            <a:spLocks/>
          </p:cNvSpPr>
          <p:nvPr userDrawn="1"/>
        </p:nvSpPr>
        <p:spPr>
          <a:xfrm>
            <a:off x="0" y="0"/>
            <a:ext cx="4953000" cy="3429000"/>
          </a:xfrm>
          <a:prstGeom prst="rect">
            <a:avLst/>
          </a:prstGeom>
          <a:solidFill>
            <a:schemeClr val="accent2"/>
          </a:solidFill>
        </p:spPr>
        <p:txBody>
          <a:bodyPr vert="horz" lIns="167632" tIns="147516" rIns="167632" bIns="167632" rtlCol="0" anchor="t" anchorCtr="0">
            <a:noAutofit/>
          </a:bodyPr>
          <a:lstStyle>
            <a:lvl1pPr algn="l" defTabSz="730834" rtl="0" eaLnBrk="1" latinLnBrk="0" hangingPunct="1">
              <a:lnSpc>
                <a:spcPct val="90000"/>
              </a:lnSpc>
              <a:spcBef>
                <a:spcPct val="0"/>
              </a:spcBef>
              <a:buNone/>
              <a:defRPr sz="3836" kern="1200">
                <a:solidFill>
                  <a:schemeClr val="bg2"/>
                </a:solidFill>
                <a:latin typeface="+mj-lt"/>
                <a:ea typeface="Arial" charset="0"/>
                <a:cs typeface="Arial" charset="0"/>
              </a:defRPr>
            </a:lvl1pPr>
          </a:lstStyle>
          <a:p>
            <a:pPr fontAlgn="auto">
              <a:spcAft>
                <a:spcPts val="0"/>
              </a:spcAft>
            </a:pPr>
            <a:endParaRPr lang="en-US" b="0" dirty="0">
              <a:solidFill>
                <a:srgbClr val="FFFFFF"/>
              </a:solidFill>
              <a:latin typeface="Arial Regular" charset="0"/>
            </a:endParaRPr>
          </a:p>
        </p:txBody>
      </p:sp>
      <p:sp>
        <p:nvSpPr>
          <p:cNvPr id="2" name="Title 1"/>
          <p:cNvSpPr>
            <a:spLocks noGrp="1"/>
          </p:cNvSpPr>
          <p:nvPr>
            <p:ph type="title" hasCustomPrompt="1"/>
          </p:nvPr>
        </p:nvSpPr>
        <p:spPr>
          <a:xfrm>
            <a:off x="309563" y="571500"/>
            <a:ext cx="4457700" cy="2286000"/>
          </a:xfrm>
        </p:spPr>
        <p:txBody>
          <a:bodyPr>
            <a:noAutofit/>
          </a:body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309563" y="220980"/>
            <a:ext cx="4457700" cy="228600"/>
          </a:xfrm>
          <a:prstGeom prst="rect">
            <a:avLst/>
          </a:prstGeom>
        </p:spPr>
        <p:txBody>
          <a:bodyPr lIns="0" tIns="0" rIns="0" bIns="0">
            <a:noAutofit/>
          </a:bodyPr>
          <a:lstStyle>
            <a:lvl1pPr marL="0" indent="0">
              <a:tabLst/>
              <a:defRPr sz="1200" b="0" i="0">
                <a:solidFill>
                  <a:schemeClr val="accent1">
                    <a:lumMod val="60000"/>
                    <a:lumOff val="40000"/>
                  </a:schemeClr>
                </a:solidFill>
                <a:latin typeface="IBM Plex Sans" charset="0"/>
                <a:ea typeface="IBM Plex Sans" charset="0"/>
                <a:cs typeface="IBM Plex Sans" charset="0"/>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8" name="Content Placeholder 9"/>
          <p:cNvSpPr>
            <a:spLocks noGrp="1"/>
          </p:cNvSpPr>
          <p:nvPr>
            <p:ph sz="quarter" idx="16"/>
          </p:nvPr>
        </p:nvSpPr>
        <p:spPr>
          <a:xfrm>
            <a:off x="4953000" y="0"/>
            <a:ext cx="2476500" cy="3429000"/>
          </a:xfrm>
          <a:prstGeom prst="rect">
            <a:avLst/>
          </a:prstGeom>
          <a:noFill/>
        </p:spPr>
        <p:txBody>
          <a:bodyPr lIns="167632" tIns="167632" rIns="167632" bIns="167632"/>
          <a:lstStyle>
            <a:lvl1pPr>
              <a:defRPr sz="1500" b="0" i="0">
                <a:solidFill>
                  <a:schemeClr val="bg2"/>
                </a:solidFill>
                <a:latin typeface="IBM Plex Sans" charset="0"/>
                <a:ea typeface="IBM Plex Sans" charset="0"/>
                <a:cs typeface="IBM Plex Sans" charset="0"/>
              </a:defRPr>
            </a:lvl1pPr>
          </a:lstStyle>
          <a:p>
            <a:pPr lvl="0"/>
            <a:r>
              <a:rPr lang="en-US" dirty="0"/>
              <a:t>Click to edit Master text styles</a:t>
            </a:r>
          </a:p>
        </p:txBody>
      </p:sp>
      <p:sp>
        <p:nvSpPr>
          <p:cNvPr id="9" name="Content Placeholder 7"/>
          <p:cNvSpPr>
            <a:spLocks noGrp="1"/>
          </p:cNvSpPr>
          <p:nvPr>
            <p:ph sz="quarter" idx="15"/>
          </p:nvPr>
        </p:nvSpPr>
        <p:spPr>
          <a:xfrm>
            <a:off x="7429500" y="0"/>
            <a:ext cx="2476500" cy="3429000"/>
          </a:xfrm>
          <a:prstGeom prst="rect">
            <a:avLst/>
          </a:prstGeom>
          <a:solidFill>
            <a:schemeClr val="bg2"/>
          </a:solidFill>
        </p:spPr>
        <p:txBody>
          <a:bodyPr lIns="167632" tIns="167632" rIns="167632" bIns="167632"/>
          <a:lstStyle>
            <a:lvl1pPr>
              <a:defRPr sz="1500" b="0" i="0">
                <a:solidFill>
                  <a:schemeClr val="tx1"/>
                </a:solidFill>
                <a:latin typeface="IBM Plex Sans" charset="0"/>
                <a:ea typeface="IBM Plex Sans" charset="0"/>
                <a:cs typeface="IBM Plex Sans" charset="0"/>
              </a:defRPr>
            </a:lvl1pPr>
          </a:lstStyle>
          <a:p>
            <a:pPr lvl="0"/>
            <a:r>
              <a:rPr lang="en-US" dirty="0"/>
              <a:t>Click to edit Master text styles</a:t>
            </a:r>
          </a:p>
        </p:txBody>
      </p:sp>
      <p:sp>
        <p:nvSpPr>
          <p:cNvPr id="11" name="Content Placeholder 13"/>
          <p:cNvSpPr>
            <a:spLocks noGrp="1"/>
          </p:cNvSpPr>
          <p:nvPr>
            <p:ph sz="quarter" idx="17"/>
          </p:nvPr>
        </p:nvSpPr>
        <p:spPr>
          <a:xfrm>
            <a:off x="7429500" y="3429000"/>
            <a:ext cx="2476500" cy="3429000"/>
          </a:xfrm>
          <a:prstGeom prst="rect">
            <a:avLst/>
          </a:prstGeom>
          <a:solidFill>
            <a:schemeClr val="tx1"/>
          </a:solidFill>
        </p:spPr>
        <p:txBody>
          <a:bodyPr lIns="167632" tIns="167632" rIns="167632" bIns="167632"/>
          <a:lstStyle>
            <a:lvl1pPr>
              <a:defRPr sz="1500" b="0" i="0">
                <a:solidFill>
                  <a:schemeClr val="bg2"/>
                </a:solidFill>
                <a:latin typeface="IBM Plex Sans" charset="0"/>
                <a:ea typeface="IBM Plex Sans" charset="0"/>
                <a:cs typeface="IBM Plex Sans" charset="0"/>
              </a:defRPr>
            </a:lvl1pPr>
          </a:lstStyle>
          <a:p>
            <a:pPr lvl="0"/>
            <a:r>
              <a:rPr lang="en-US" dirty="0"/>
              <a:t>Click to edit Master text styles</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946" y="6515120"/>
            <a:ext cx="383309" cy="190501"/>
          </a:xfrm>
          <a:prstGeom prst="rect">
            <a:avLst/>
          </a:prstGeom>
        </p:spPr>
      </p:pic>
      <p:sp>
        <p:nvSpPr>
          <p:cNvPr id="19" name="Content Placeholder 9"/>
          <p:cNvSpPr>
            <a:spLocks noGrp="1"/>
          </p:cNvSpPr>
          <p:nvPr>
            <p:ph sz="quarter" idx="19"/>
          </p:nvPr>
        </p:nvSpPr>
        <p:spPr>
          <a:xfrm>
            <a:off x="2476500" y="3429000"/>
            <a:ext cx="2476500" cy="3429000"/>
          </a:xfrm>
          <a:prstGeom prst="rect">
            <a:avLst/>
          </a:prstGeom>
          <a:noFill/>
        </p:spPr>
        <p:txBody>
          <a:bodyPr lIns="167632" tIns="167632" rIns="167632" bIns="167632"/>
          <a:lstStyle>
            <a:lvl1pPr>
              <a:defRPr sz="1500" b="0" i="0">
                <a:solidFill>
                  <a:schemeClr val="bg2"/>
                </a:solidFill>
                <a:latin typeface="IBM Plex Sans" charset="0"/>
                <a:ea typeface="IBM Plex Sans" charset="0"/>
                <a:cs typeface="IBM Plex Sans" charset="0"/>
              </a:defRPr>
            </a:lvl1pPr>
          </a:lstStyle>
          <a:p>
            <a:pPr lvl="0"/>
            <a:r>
              <a:rPr lang="en-US" dirty="0"/>
              <a:t>Click to edit Master text styles</a:t>
            </a:r>
          </a:p>
        </p:txBody>
      </p:sp>
      <p:sp>
        <p:nvSpPr>
          <p:cNvPr id="21" name="Content Placeholder 7"/>
          <p:cNvSpPr>
            <a:spLocks noGrp="1"/>
          </p:cNvSpPr>
          <p:nvPr>
            <p:ph sz="quarter" idx="20"/>
          </p:nvPr>
        </p:nvSpPr>
        <p:spPr>
          <a:xfrm>
            <a:off x="4953000" y="3429000"/>
            <a:ext cx="2476500" cy="3429000"/>
          </a:xfrm>
          <a:prstGeom prst="rect">
            <a:avLst/>
          </a:prstGeom>
          <a:solidFill>
            <a:schemeClr val="bg2"/>
          </a:solidFill>
        </p:spPr>
        <p:txBody>
          <a:bodyPr lIns="167632" tIns="167632" rIns="167632" bIns="167632"/>
          <a:lstStyle>
            <a:lvl1pPr>
              <a:defRPr sz="1500" b="0" i="0">
                <a:solidFill>
                  <a:schemeClr val="tx1"/>
                </a:solidFill>
                <a:latin typeface="IBM Plex Sans" charset="0"/>
                <a:ea typeface="IBM Plex Sans" charset="0"/>
                <a:cs typeface="IBM Plex Sans" charset="0"/>
              </a:defRPr>
            </a:lvl1pPr>
          </a:lstStyle>
          <a:p>
            <a:pPr lvl="0"/>
            <a:r>
              <a:rPr lang="en-US" dirty="0"/>
              <a:t>Click to edit Master text styles</a:t>
            </a:r>
          </a:p>
        </p:txBody>
      </p:sp>
      <p:grpSp>
        <p:nvGrpSpPr>
          <p:cNvPr id="14" name="Group 13"/>
          <p:cNvGrpSpPr/>
          <p:nvPr userDrawn="1"/>
        </p:nvGrpSpPr>
        <p:grpSpPr>
          <a:xfrm>
            <a:off x="619125" y="6583046"/>
            <a:ext cx="1837164" cy="183809"/>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000000">
                      <a:alpha val="60000"/>
                    </a:srgbClr>
                  </a:solidFill>
                  <a:latin typeface="IBM Plex Sans" charset="0"/>
                  <a:ea typeface="IBM Plex Sans" charset="0"/>
                  <a:cs typeface="IBM Plex Sans" charset="0"/>
                </a:rPr>
                <a:t>©</a:t>
              </a:r>
              <a:r>
                <a:rPr lang="en-US" sz="300" b="0" dirty="0">
                  <a:solidFill>
                    <a:srgbClr val="000000">
                      <a:alpha val="60000"/>
                    </a:srgbClr>
                  </a:solidFill>
                  <a:latin typeface="IBM Plex Sans" charset="0"/>
                  <a:ea typeface="IBM Plex Sans" charset="0"/>
                  <a:cs typeface="IBM Plex Sans" charset="0"/>
                </a:rPr>
                <a:t> </a:t>
              </a:r>
              <a:r>
                <a:rPr lang="en-US" sz="600" b="0" dirty="0">
                  <a:solidFill>
                    <a:srgbClr val="000000">
                      <a:alpha val="60000"/>
                    </a:srgbClr>
                  </a:solidFill>
                  <a:latin typeface="IBM Plex Sans" charset="0"/>
                  <a:ea typeface="IBM Plex Sans" charset="0"/>
                  <a:cs typeface="IBM Plex Sans" charset="0"/>
                </a:rPr>
                <a:t>2018 IBM Corporation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000000">
                      <a:alpha val="60000"/>
                    </a:srgbClr>
                  </a:solidFill>
                  <a:latin typeface="IBM Plex Sans" charset="0"/>
                  <a:ea typeface="IBM Plex Sans" charset="0"/>
                  <a:cs typeface="IBM Plex Sans" charset="0"/>
                </a:rPr>
                <a:t> </a:t>
              </a:r>
              <a:fld id="{7C9968D1-C8E5-4FE3-AED4-7D4518C301B3}" type="datetime3">
                <a:rPr lang="en-US" sz="600" b="0" smtClean="0">
                  <a:solidFill>
                    <a:srgbClr val="000000">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000000">
                    <a:alpha val="60000"/>
                  </a:srgbClr>
                </a:solidFill>
                <a:latin typeface="IBM Plex Sans" charset="0"/>
                <a:ea typeface="IBM Plex Sans" charset="0"/>
                <a:cs typeface="IBM Plex Sans" charset="0"/>
              </a:endParaRPr>
            </a:p>
          </p:txBody>
        </p:sp>
      </p:grpSp>
      <p:sp>
        <p:nvSpPr>
          <p:cNvPr id="22"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000000"/>
                </a:solidFill>
                <a:latin typeface="IBM Plex Sans" charset="0"/>
                <a:ea typeface="IBM Plex Sans" charset="0"/>
                <a:cs typeface="IBM Plex Sans" charset="0"/>
              </a:rPr>
              <a:pPr fontAlgn="auto">
                <a:spcBef>
                  <a:spcPts val="0"/>
                </a:spcBef>
                <a:spcAft>
                  <a:spcPts val="0"/>
                </a:spcAft>
              </a:pPr>
              <a:t>‹#›</a:t>
            </a:fld>
            <a:endParaRPr lang="en-US" sz="600" b="0" dirty="0">
              <a:solidFill>
                <a:srgbClr val="000000"/>
              </a:solidFill>
              <a:latin typeface="IBM Plex Sans" charset="0"/>
              <a:ea typeface="IBM Plex Sans" charset="0"/>
              <a:cs typeface="IBM Plex Sans" charset="0"/>
            </a:endParaRPr>
          </a:p>
        </p:txBody>
      </p:sp>
    </p:spTree>
    <p:extLst>
      <p:ext uri="{BB962C8B-B14F-4D97-AF65-F5344CB8AC3E}">
        <p14:creationId xmlns:p14="http://schemas.microsoft.com/office/powerpoint/2010/main" val="34290872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4-1_Title and Content">
    <p:bg>
      <p:bgPr>
        <a:solidFill>
          <a:schemeClr val="tx2"/>
        </a:solidFill>
        <a:effectLst/>
      </p:bgPr>
    </p:bg>
    <p:spTree>
      <p:nvGrpSpPr>
        <p:cNvPr id="1" name=""/>
        <p:cNvGrpSpPr/>
        <p:nvPr/>
      </p:nvGrpSpPr>
      <p:grpSpPr>
        <a:xfrm>
          <a:off x="0" y="0"/>
          <a:ext cx="0" cy="0"/>
          <a:chOff x="0" y="0"/>
          <a:chExt cx="0" cy="0"/>
        </a:xfrm>
      </p:grpSpPr>
      <p:sp>
        <p:nvSpPr>
          <p:cNvPr id="10" name="Content Placeholder 4"/>
          <p:cNvSpPr>
            <a:spLocks noGrp="1"/>
          </p:cNvSpPr>
          <p:nvPr>
            <p:ph sz="quarter" idx="18"/>
          </p:nvPr>
        </p:nvSpPr>
        <p:spPr>
          <a:xfrm>
            <a:off x="0" y="3429000"/>
            <a:ext cx="2476500" cy="3429000"/>
          </a:xfrm>
          <a:prstGeom prst="rect">
            <a:avLst/>
          </a:prstGeom>
          <a:noFill/>
        </p:spPr>
        <p:txBody>
          <a:bodyPr lIns="335265" tIns="167632" rIns="167632" bIns="167632"/>
          <a:lstStyle>
            <a:lvl1pPr>
              <a:defRPr sz="1500" b="0" i="0">
                <a:solidFill>
                  <a:schemeClr val="tx1"/>
                </a:solidFill>
                <a:latin typeface="IBM Plex Sans" charset="0"/>
                <a:ea typeface="IBM Plex Sans" charset="0"/>
                <a:cs typeface="IBM Plex Sans"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 name="Title 5"/>
          <p:cNvSpPr txBox="1">
            <a:spLocks/>
          </p:cNvSpPr>
          <p:nvPr userDrawn="1"/>
        </p:nvSpPr>
        <p:spPr>
          <a:xfrm>
            <a:off x="0" y="0"/>
            <a:ext cx="4953000" cy="3429000"/>
          </a:xfrm>
          <a:prstGeom prst="rect">
            <a:avLst/>
          </a:prstGeom>
          <a:solidFill>
            <a:schemeClr val="bg2"/>
          </a:solidFill>
        </p:spPr>
        <p:txBody>
          <a:bodyPr vert="horz" lIns="167632" tIns="147516" rIns="167632" bIns="167632" rtlCol="0" anchor="t" anchorCtr="0">
            <a:noAutofit/>
          </a:bodyPr>
          <a:lstStyle>
            <a:lvl1pPr algn="l" defTabSz="730834" rtl="0" eaLnBrk="1" latinLnBrk="0" hangingPunct="1">
              <a:lnSpc>
                <a:spcPct val="90000"/>
              </a:lnSpc>
              <a:spcBef>
                <a:spcPct val="0"/>
              </a:spcBef>
              <a:buNone/>
              <a:defRPr sz="3836" kern="1200">
                <a:solidFill>
                  <a:schemeClr val="bg2"/>
                </a:solidFill>
                <a:latin typeface="+mj-lt"/>
                <a:ea typeface="Arial" charset="0"/>
                <a:cs typeface="Arial" charset="0"/>
              </a:defRPr>
            </a:lvl1pPr>
          </a:lstStyle>
          <a:p>
            <a:pPr fontAlgn="auto">
              <a:spcAft>
                <a:spcPts val="0"/>
              </a:spcAft>
            </a:pPr>
            <a:endParaRPr lang="en-US" b="0" dirty="0">
              <a:solidFill>
                <a:srgbClr val="FFFFFF"/>
              </a:solidFill>
              <a:latin typeface="Arial Regular" charset="0"/>
            </a:endParaRPr>
          </a:p>
        </p:txBody>
      </p:sp>
      <p:sp>
        <p:nvSpPr>
          <p:cNvPr id="2" name="Title 1"/>
          <p:cNvSpPr>
            <a:spLocks noGrp="1"/>
          </p:cNvSpPr>
          <p:nvPr>
            <p:ph type="title" hasCustomPrompt="1"/>
          </p:nvPr>
        </p:nvSpPr>
        <p:spPr>
          <a:xfrm>
            <a:off x="309563" y="571500"/>
            <a:ext cx="4457700" cy="2286000"/>
          </a:xfrm>
        </p:spPr>
        <p:txBody>
          <a:bodyPr>
            <a:noAutofit/>
          </a:bodyPr>
          <a:lstStyle>
            <a:lvl1pPr>
              <a:defRPr>
                <a:solidFill>
                  <a:schemeClr val="tx1"/>
                </a:solidFill>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309563" y="220980"/>
            <a:ext cx="4457700" cy="228600"/>
          </a:xfrm>
          <a:prstGeom prst="rect">
            <a:avLst/>
          </a:prstGeom>
        </p:spPr>
        <p:txBody>
          <a:bodyPr lIns="0" tIns="0" rIns="0" bIns="0">
            <a:noAutofit/>
          </a:bodyPr>
          <a:lstStyle>
            <a:lvl1pPr marL="0" indent="0">
              <a:tabLst/>
              <a:defRPr sz="1200" b="0" i="0">
                <a:solidFill>
                  <a:schemeClr val="accent1">
                    <a:lumMod val="60000"/>
                    <a:lumOff val="40000"/>
                  </a:schemeClr>
                </a:solidFill>
                <a:latin typeface="IBM Plex Sans" charset="0"/>
                <a:ea typeface="IBM Plex Sans" charset="0"/>
                <a:cs typeface="IBM Plex Sans" charset="0"/>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11" name="Content Placeholder 13"/>
          <p:cNvSpPr>
            <a:spLocks noGrp="1"/>
          </p:cNvSpPr>
          <p:nvPr>
            <p:ph sz="quarter" idx="17"/>
          </p:nvPr>
        </p:nvSpPr>
        <p:spPr>
          <a:xfrm>
            <a:off x="7429500" y="3429000"/>
            <a:ext cx="2476500" cy="3429000"/>
          </a:xfrm>
          <a:prstGeom prst="rect">
            <a:avLst/>
          </a:prstGeom>
          <a:solidFill>
            <a:schemeClr val="bg2">
              <a:lumMod val="65000"/>
            </a:schemeClr>
          </a:solidFill>
        </p:spPr>
        <p:txBody>
          <a:bodyPr lIns="167632" tIns="167632" rIns="167632" bIns="167632"/>
          <a:lstStyle>
            <a:lvl1pPr>
              <a:defRPr sz="1500" b="0" i="0">
                <a:solidFill>
                  <a:schemeClr val="bg2"/>
                </a:solidFill>
                <a:latin typeface="IBM Plex Sans" charset="0"/>
                <a:ea typeface="IBM Plex Sans" charset="0"/>
                <a:cs typeface="IBM Plex Sans" charset="0"/>
              </a:defRPr>
            </a:lvl1pPr>
          </a:lstStyle>
          <a:p>
            <a:pPr lvl="0"/>
            <a:r>
              <a:rPr lang="en-US" dirty="0"/>
              <a:t>Click to edit Master text styles</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946" y="6515120"/>
            <a:ext cx="383309" cy="190501"/>
          </a:xfrm>
          <a:prstGeom prst="rect">
            <a:avLst/>
          </a:prstGeom>
        </p:spPr>
      </p:pic>
      <p:sp>
        <p:nvSpPr>
          <p:cNvPr id="19" name="Content Placeholder 9"/>
          <p:cNvSpPr>
            <a:spLocks noGrp="1"/>
          </p:cNvSpPr>
          <p:nvPr>
            <p:ph sz="quarter" idx="19"/>
          </p:nvPr>
        </p:nvSpPr>
        <p:spPr>
          <a:xfrm>
            <a:off x="2476500" y="3429000"/>
            <a:ext cx="2476500" cy="3429000"/>
          </a:xfrm>
          <a:prstGeom prst="rect">
            <a:avLst/>
          </a:prstGeom>
          <a:solidFill>
            <a:schemeClr val="bg2">
              <a:lumMod val="85000"/>
            </a:schemeClr>
          </a:solidFill>
        </p:spPr>
        <p:txBody>
          <a:bodyPr lIns="167632" tIns="167632" rIns="167632" bIns="167632"/>
          <a:lstStyle>
            <a:lvl1pPr>
              <a:defRPr sz="1500" b="0" i="0">
                <a:solidFill>
                  <a:schemeClr val="tx1"/>
                </a:solidFill>
                <a:latin typeface="IBM Plex Sans" charset="0"/>
                <a:ea typeface="IBM Plex Sans" charset="0"/>
                <a:cs typeface="IBM Plex Sans" charset="0"/>
              </a:defRPr>
            </a:lvl1pPr>
          </a:lstStyle>
          <a:p>
            <a:pPr lvl="0"/>
            <a:r>
              <a:rPr lang="en-US" dirty="0"/>
              <a:t>Click to edit Master text styles</a:t>
            </a:r>
          </a:p>
        </p:txBody>
      </p:sp>
      <p:sp>
        <p:nvSpPr>
          <p:cNvPr id="21" name="Content Placeholder 7"/>
          <p:cNvSpPr>
            <a:spLocks noGrp="1"/>
          </p:cNvSpPr>
          <p:nvPr>
            <p:ph sz="quarter" idx="20"/>
          </p:nvPr>
        </p:nvSpPr>
        <p:spPr>
          <a:xfrm>
            <a:off x="4953000" y="3429000"/>
            <a:ext cx="2476500" cy="3429000"/>
          </a:xfrm>
          <a:prstGeom prst="rect">
            <a:avLst/>
          </a:prstGeom>
          <a:solidFill>
            <a:schemeClr val="bg2">
              <a:lumMod val="75000"/>
            </a:schemeClr>
          </a:solidFill>
        </p:spPr>
        <p:txBody>
          <a:bodyPr lIns="167632" tIns="167632" rIns="167632" bIns="167632"/>
          <a:lstStyle>
            <a:lvl1pPr>
              <a:defRPr sz="1500" b="0" i="0">
                <a:solidFill>
                  <a:schemeClr val="tx1"/>
                </a:solidFill>
                <a:latin typeface="IBM Plex Sans" charset="0"/>
                <a:ea typeface="IBM Plex Sans" charset="0"/>
                <a:cs typeface="IBM Plex Sans" charset="0"/>
              </a:defRPr>
            </a:lvl1pPr>
          </a:lstStyle>
          <a:p>
            <a:pPr lvl="0"/>
            <a:r>
              <a:rPr lang="en-US" dirty="0"/>
              <a:t>Click to edit Master text styles</a:t>
            </a:r>
          </a:p>
        </p:txBody>
      </p:sp>
      <p:grpSp>
        <p:nvGrpSpPr>
          <p:cNvPr id="14" name="Group 13"/>
          <p:cNvGrpSpPr/>
          <p:nvPr userDrawn="1"/>
        </p:nvGrpSpPr>
        <p:grpSpPr>
          <a:xfrm>
            <a:off x="619125" y="6583046"/>
            <a:ext cx="1837164" cy="183809"/>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000000">
                      <a:alpha val="60000"/>
                    </a:srgbClr>
                  </a:solidFill>
                  <a:latin typeface="IBM Plex Sans" charset="0"/>
                  <a:ea typeface="IBM Plex Sans" charset="0"/>
                  <a:cs typeface="IBM Plex Sans" charset="0"/>
                </a:rPr>
                <a:t>©</a:t>
              </a:r>
              <a:r>
                <a:rPr lang="en-US" sz="300" b="0" dirty="0">
                  <a:solidFill>
                    <a:srgbClr val="000000">
                      <a:alpha val="60000"/>
                    </a:srgbClr>
                  </a:solidFill>
                  <a:latin typeface="IBM Plex Sans" charset="0"/>
                  <a:ea typeface="IBM Plex Sans" charset="0"/>
                  <a:cs typeface="IBM Plex Sans" charset="0"/>
                </a:rPr>
                <a:t> </a:t>
              </a:r>
              <a:r>
                <a:rPr lang="en-US" sz="600" b="0" dirty="0">
                  <a:solidFill>
                    <a:srgbClr val="000000">
                      <a:alpha val="60000"/>
                    </a:srgbClr>
                  </a:solidFill>
                  <a:latin typeface="IBM Plex Sans" charset="0"/>
                  <a:ea typeface="IBM Plex Sans" charset="0"/>
                  <a:cs typeface="IBM Plex Sans" charset="0"/>
                </a:rPr>
                <a:t>2018 IBM Corporation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000000">
                      <a:alpha val="60000"/>
                    </a:srgbClr>
                  </a:solidFill>
                  <a:latin typeface="IBM Plex Sans" charset="0"/>
                  <a:ea typeface="IBM Plex Sans" charset="0"/>
                  <a:cs typeface="IBM Plex Sans" charset="0"/>
                </a:rPr>
                <a:t> </a:t>
              </a:r>
              <a:fld id="{7C9968D1-C8E5-4FE3-AED4-7D4518C301B3}" type="datetime3">
                <a:rPr lang="en-US" sz="600" b="0" smtClean="0">
                  <a:solidFill>
                    <a:srgbClr val="000000">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000000">
                    <a:alpha val="60000"/>
                  </a:srgbClr>
                </a:solidFill>
                <a:latin typeface="IBM Plex Sans" charset="0"/>
                <a:ea typeface="IBM Plex Sans" charset="0"/>
                <a:cs typeface="IBM Plex Sans" charset="0"/>
              </a:endParaRPr>
            </a:p>
          </p:txBody>
        </p:sp>
      </p:grpSp>
      <p:sp>
        <p:nvSpPr>
          <p:cNvPr id="22"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000000"/>
                </a:solidFill>
                <a:latin typeface="IBM Plex Sans" charset="0"/>
                <a:ea typeface="IBM Plex Sans" charset="0"/>
                <a:cs typeface="IBM Plex Sans" charset="0"/>
              </a:rPr>
              <a:pPr fontAlgn="auto">
                <a:spcBef>
                  <a:spcPts val="0"/>
                </a:spcBef>
                <a:spcAft>
                  <a:spcPts val="0"/>
                </a:spcAft>
              </a:pPr>
              <a:t>‹#›</a:t>
            </a:fld>
            <a:endParaRPr lang="en-US" sz="600" b="0" dirty="0">
              <a:solidFill>
                <a:srgbClr val="000000"/>
              </a:solidFill>
              <a:latin typeface="IBM Plex Sans" charset="0"/>
              <a:ea typeface="IBM Plex Sans" charset="0"/>
              <a:cs typeface="IBM Plex Sans" charset="0"/>
            </a:endParaRPr>
          </a:p>
        </p:txBody>
      </p:sp>
    </p:spTree>
    <p:extLst>
      <p:ext uri="{BB962C8B-B14F-4D97-AF65-F5344CB8AC3E}">
        <p14:creationId xmlns:p14="http://schemas.microsoft.com/office/powerpoint/2010/main" val="18443148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9563" y="571498"/>
            <a:ext cx="4457700" cy="55245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309563" y="220980"/>
            <a:ext cx="4457700" cy="228600"/>
          </a:xfrm>
          <a:prstGeom prst="rect">
            <a:avLst/>
          </a:prstGeom>
        </p:spPr>
        <p:txBody>
          <a:bodyPr lIns="0" tIns="0" rIns="0" bIns="0">
            <a:noAutofit/>
          </a:bodyPr>
          <a:lstStyle>
            <a:lvl1pPr marL="0" indent="0">
              <a:tabLst/>
              <a:defRPr sz="1200" b="0" i="0">
                <a:solidFill>
                  <a:schemeClr val="accent1"/>
                </a:solidFill>
                <a:latin typeface="IBM Plex Sans" charset="0"/>
                <a:ea typeface="IBM Plex Sans" charset="0"/>
                <a:cs typeface="IBM Plex Sans" charset="0"/>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8" name="Content Placeholder 9"/>
          <p:cNvSpPr>
            <a:spLocks noGrp="1"/>
          </p:cNvSpPr>
          <p:nvPr>
            <p:ph sz="quarter" idx="16"/>
          </p:nvPr>
        </p:nvSpPr>
        <p:spPr>
          <a:xfrm>
            <a:off x="4953000" y="0"/>
            <a:ext cx="2476500" cy="3429000"/>
          </a:xfrm>
          <a:prstGeom prst="rect">
            <a:avLst/>
          </a:prstGeom>
          <a:solidFill>
            <a:schemeClr val="tx2">
              <a:lumMod val="50000"/>
            </a:schemeClr>
          </a:solidFill>
        </p:spPr>
        <p:txBody>
          <a:bodyPr lIns="167632" tIns="167632" rIns="167632" bIns="167632"/>
          <a:lstStyle>
            <a:lvl1pPr>
              <a:defRPr sz="1500" b="0" i="0">
                <a:solidFill>
                  <a:schemeClr val="bg2"/>
                </a:solidFill>
                <a:latin typeface="IBM Plex Sans" charset="0"/>
                <a:ea typeface="IBM Plex Sans" charset="0"/>
                <a:cs typeface="IBM Plex Sans" charset="0"/>
              </a:defRPr>
            </a:lvl1pPr>
          </a:lstStyle>
          <a:p>
            <a:pPr lvl="0"/>
            <a:r>
              <a:rPr lang="en-US" dirty="0"/>
              <a:t>Click to edit Master text styles</a:t>
            </a:r>
          </a:p>
        </p:txBody>
      </p:sp>
      <p:sp>
        <p:nvSpPr>
          <p:cNvPr id="9" name="Content Placeholder 7"/>
          <p:cNvSpPr>
            <a:spLocks noGrp="1"/>
          </p:cNvSpPr>
          <p:nvPr>
            <p:ph sz="quarter" idx="15"/>
          </p:nvPr>
        </p:nvSpPr>
        <p:spPr>
          <a:xfrm>
            <a:off x="7429500" y="0"/>
            <a:ext cx="2476500" cy="3429000"/>
          </a:xfrm>
          <a:prstGeom prst="rect">
            <a:avLst/>
          </a:prstGeom>
          <a:solidFill>
            <a:schemeClr val="tx1"/>
          </a:solidFill>
        </p:spPr>
        <p:txBody>
          <a:bodyPr lIns="167632" tIns="167632" rIns="167632" bIns="167632"/>
          <a:lstStyle>
            <a:lvl1pPr>
              <a:defRPr sz="1500" b="0" i="0">
                <a:solidFill>
                  <a:schemeClr val="bg2"/>
                </a:solidFill>
                <a:latin typeface="IBM Plex Sans" charset="0"/>
                <a:ea typeface="IBM Plex Sans" charset="0"/>
                <a:cs typeface="IBM Plex Sans" charset="0"/>
              </a:defRPr>
            </a:lvl1pPr>
          </a:lstStyle>
          <a:p>
            <a:pPr lvl="0"/>
            <a:r>
              <a:rPr lang="en-US" dirty="0"/>
              <a:t>Click to edit Master text styles</a:t>
            </a:r>
          </a:p>
        </p:txBody>
      </p:sp>
      <p:sp>
        <p:nvSpPr>
          <p:cNvPr id="11" name="Content Placeholder 13"/>
          <p:cNvSpPr>
            <a:spLocks noGrp="1"/>
          </p:cNvSpPr>
          <p:nvPr>
            <p:ph sz="quarter" idx="17"/>
          </p:nvPr>
        </p:nvSpPr>
        <p:spPr>
          <a:xfrm>
            <a:off x="4953000" y="3429000"/>
            <a:ext cx="4953000" cy="3429000"/>
          </a:xfrm>
          <a:prstGeom prst="rect">
            <a:avLst/>
          </a:prstGeom>
          <a:solidFill>
            <a:schemeClr val="accent3"/>
          </a:solidFill>
        </p:spPr>
        <p:txBody>
          <a:bodyPr lIns="167632" tIns="167632" rIns="167632" bIns="167632"/>
          <a:lstStyle>
            <a:lvl1pPr>
              <a:defRPr sz="1500" b="0" i="0">
                <a:solidFill>
                  <a:schemeClr val="bg2"/>
                </a:solidFill>
                <a:latin typeface="IBM Plex Sans" charset="0"/>
                <a:ea typeface="IBM Plex Sans" charset="0"/>
                <a:cs typeface="IBM Plex Sans" charset="0"/>
              </a:defRPr>
            </a:lvl1pPr>
          </a:lstStyle>
          <a:p>
            <a:pPr lvl="0"/>
            <a:r>
              <a:rPr lang="en-US" dirty="0"/>
              <a:t>Click to edit Master text styles</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946" y="6515120"/>
            <a:ext cx="383309" cy="190501"/>
          </a:xfrm>
          <a:prstGeom prst="rect">
            <a:avLst/>
          </a:prstGeom>
        </p:spPr>
      </p:pic>
      <p:sp>
        <p:nvSpPr>
          <p:cNvPr id="19" name="Text Placeholder 23"/>
          <p:cNvSpPr>
            <a:spLocks noGrp="1"/>
          </p:cNvSpPr>
          <p:nvPr>
            <p:ph type="body" sz="quarter" idx="14" hasCustomPrompt="1"/>
          </p:nvPr>
        </p:nvSpPr>
        <p:spPr>
          <a:xfrm>
            <a:off x="309563" y="6118860"/>
            <a:ext cx="4457700" cy="381000"/>
          </a:xfrm>
          <a:prstGeom prst="rect">
            <a:avLst/>
          </a:prstGeom>
        </p:spPr>
        <p:txBody>
          <a:bodyPr lIns="0" tIns="0" rIns="0" bIns="0" anchor="b"/>
          <a:lstStyle>
            <a:lvl1pPr marL="0" indent="0">
              <a:tabLst/>
              <a:defRPr sz="600" b="0" i="0">
                <a:solidFill>
                  <a:schemeClr val="bg2">
                    <a:alpha val="70000"/>
                  </a:schemeClr>
                </a:solidFill>
                <a:latin typeface="IBM Plex Sans" charset="0"/>
                <a:ea typeface="IBM Plex Sans" charset="0"/>
                <a:cs typeface="IBM Plex Sans" charset="0"/>
              </a:defRPr>
            </a:lvl1pPr>
            <a:lvl2pPr>
              <a:defRPr sz="700"/>
            </a:lvl2pPr>
            <a:lvl3pPr>
              <a:defRPr sz="700"/>
            </a:lvl3pPr>
            <a:lvl4pPr>
              <a:defRPr sz="700"/>
            </a:lvl4pPr>
            <a:lvl5pPr>
              <a:defRPr sz="700"/>
            </a:lvl5pPr>
          </a:lstStyle>
          <a:p>
            <a:pPr lvl="0"/>
            <a:r>
              <a:rPr lang="en-US" dirty="0"/>
              <a:t>Source: Edit source here</a:t>
            </a:r>
          </a:p>
        </p:txBody>
      </p:sp>
    </p:spTree>
    <p:extLst>
      <p:ext uri="{BB962C8B-B14F-4D97-AF65-F5344CB8AC3E}">
        <p14:creationId xmlns:p14="http://schemas.microsoft.com/office/powerpoint/2010/main" val="27746936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3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9563" y="571498"/>
            <a:ext cx="4457700" cy="55245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309563" y="220980"/>
            <a:ext cx="4457700" cy="228600"/>
          </a:xfrm>
          <a:prstGeom prst="rect">
            <a:avLst/>
          </a:prstGeom>
        </p:spPr>
        <p:txBody>
          <a:bodyPr lIns="0" tIns="0" rIns="0" bIns="0">
            <a:noAutofit/>
          </a:bodyPr>
          <a:lstStyle>
            <a:lvl1pPr marL="0" indent="0">
              <a:tabLst/>
              <a:defRPr sz="1200" b="0" i="0">
                <a:solidFill>
                  <a:schemeClr val="accent1"/>
                </a:solidFill>
                <a:latin typeface="IBM Plex Sans" charset="0"/>
                <a:ea typeface="IBM Plex Sans" charset="0"/>
                <a:cs typeface="IBM Plex Sans" charset="0"/>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8" name="Content Placeholder 9"/>
          <p:cNvSpPr>
            <a:spLocks noGrp="1"/>
          </p:cNvSpPr>
          <p:nvPr>
            <p:ph sz="quarter" idx="16"/>
          </p:nvPr>
        </p:nvSpPr>
        <p:spPr>
          <a:xfrm>
            <a:off x="4953000" y="3429000"/>
            <a:ext cx="2476500" cy="3429000"/>
          </a:xfrm>
          <a:prstGeom prst="rect">
            <a:avLst/>
          </a:prstGeom>
          <a:solidFill>
            <a:schemeClr val="tx1"/>
          </a:solidFill>
          <a:ln>
            <a:noFill/>
          </a:ln>
        </p:spPr>
        <p:txBody>
          <a:bodyPr lIns="167632" tIns="167632" rIns="167632" bIns="167632"/>
          <a:lstStyle>
            <a:lvl1pPr>
              <a:defRPr sz="1500" b="0" i="0">
                <a:solidFill>
                  <a:schemeClr val="bg2"/>
                </a:solidFill>
                <a:latin typeface="IBM Plex Sans" charset="0"/>
                <a:ea typeface="IBM Plex Sans" charset="0"/>
                <a:cs typeface="IBM Plex Sans" charset="0"/>
              </a:defRPr>
            </a:lvl1pPr>
          </a:lstStyle>
          <a:p>
            <a:pPr lvl="0"/>
            <a:r>
              <a:rPr lang="en-US" dirty="0"/>
              <a:t>Click to edit Master text styles</a:t>
            </a:r>
          </a:p>
        </p:txBody>
      </p:sp>
      <p:sp>
        <p:nvSpPr>
          <p:cNvPr id="9" name="Content Placeholder 7"/>
          <p:cNvSpPr>
            <a:spLocks noGrp="1"/>
          </p:cNvSpPr>
          <p:nvPr>
            <p:ph sz="quarter" idx="15"/>
          </p:nvPr>
        </p:nvSpPr>
        <p:spPr>
          <a:xfrm>
            <a:off x="7429500" y="3429000"/>
            <a:ext cx="2476500" cy="3429000"/>
          </a:xfrm>
          <a:prstGeom prst="rect">
            <a:avLst/>
          </a:prstGeom>
          <a:solidFill>
            <a:schemeClr val="bg2"/>
          </a:solidFill>
          <a:ln>
            <a:noFill/>
          </a:ln>
        </p:spPr>
        <p:txBody>
          <a:bodyPr lIns="167632" tIns="167632" rIns="167632" bIns="167632"/>
          <a:lstStyle>
            <a:lvl1pPr>
              <a:defRPr sz="1500" b="0" i="0">
                <a:solidFill>
                  <a:schemeClr val="tx1"/>
                </a:solidFill>
                <a:latin typeface="IBM Plex Sans" charset="0"/>
                <a:ea typeface="IBM Plex Sans" charset="0"/>
                <a:cs typeface="IBM Plex Sans" charset="0"/>
              </a:defRPr>
            </a:lvl1pPr>
          </a:lstStyle>
          <a:p>
            <a:pPr lvl="0"/>
            <a:r>
              <a:rPr lang="en-US" dirty="0"/>
              <a:t>Click to edit Master text styles</a:t>
            </a:r>
          </a:p>
        </p:txBody>
      </p:sp>
      <p:sp>
        <p:nvSpPr>
          <p:cNvPr id="11" name="Content Placeholder 13"/>
          <p:cNvSpPr>
            <a:spLocks noGrp="1"/>
          </p:cNvSpPr>
          <p:nvPr>
            <p:ph sz="quarter" idx="17"/>
          </p:nvPr>
        </p:nvSpPr>
        <p:spPr>
          <a:xfrm>
            <a:off x="4953000" y="1622"/>
            <a:ext cx="4953000" cy="3429000"/>
          </a:xfrm>
          <a:prstGeom prst="rect">
            <a:avLst/>
          </a:prstGeom>
          <a:solidFill>
            <a:schemeClr val="accent2"/>
          </a:solidFill>
          <a:ln>
            <a:noFill/>
          </a:ln>
        </p:spPr>
        <p:txBody>
          <a:bodyPr lIns="167632" tIns="167632" rIns="167632" bIns="167632"/>
          <a:lstStyle>
            <a:lvl1pPr>
              <a:defRPr sz="1500" b="0" i="0">
                <a:solidFill>
                  <a:schemeClr val="bg2"/>
                </a:solidFill>
                <a:latin typeface="IBM Plex Sans" charset="0"/>
                <a:ea typeface="IBM Plex Sans" charset="0"/>
                <a:cs typeface="IBM Plex Sans" charset="0"/>
              </a:defRPr>
            </a:lvl1pPr>
          </a:lstStyle>
          <a:p>
            <a:pPr lvl="0"/>
            <a:r>
              <a:rPr lang="en-US" dirty="0"/>
              <a:t>Click to 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5300" y="6477000"/>
            <a:ext cx="777414" cy="381000"/>
          </a:xfrm>
          <a:prstGeom prst="rect">
            <a:avLst/>
          </a:prstGeom>
        </p:spPr>
      </p:pic>
      <p:pic>
        <p:nvPicPr>
          <p:cNvPr id="21" name="Pictur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12946" y="6515119"/>
            <a:ext cx="383309" cy="190500"/>
          </a:xfrm>
          <a:prstGeom prst="rect">
            <a:avLst/>
          </a:prstGeom>
        </p:spPr>
      </p:pic>
      <p:sp>
        <p:nvSpPr>
          <p:cNvPr id="26" name="Text Placeholder 23"/>
          <p:cNvSpPr>
            <a:spLocks noGrp="1"/>
          </p:cNvSpPr>
          <p:nvPr>
            <p:ph type="body" sz="quarter" idx="14" hasCustomPrompt="1"/>
          </p:nvPr>
        </p:nvSpPr>
        <p:spPr>
          <a:xfrm>
            <a:off x="309563" y="6118860"/>
            <a:ext cx="4457700" cy="381000"/>
          </a:xfrm>
          <a:prstGeom prst="rect">
            <a:avLst/>
          </a:prstGeom>
        </p:spPr>
        <p:txBody>
          <a:bodyPr lIns="0" tIns="0" rIns="0" bIns="0" anchor="b"/>
          <a:lstStyle>
            <a:lvl1pPr marL="0" indent="0">
              <a:tabLst/>
              <a:defRPr sz="600" b="0" i="0">
                <a:solidFill>
                  <a:schemeClr val="tx1">
                    <a:alpha val="70000"/>
                  </a:schemeClr>
                </a:solidFill>
                <a:latin typeface="IBM Plex Sans" charset="0"/>
                <a:ea typeface="IBM Plex Sans" charset="0"/>
                <a:cs typeface="IBM Plex Sans" charset="0"/>
              </a:defRPr>
            </a:lvl1pPr>
            <a:lvl2pPr>
              <a:defRPr sz="700"/>
            </a:lvl2pPr>
            <a:lvl3pPr>
              <a:defRPr sz="700"/>
            </a:lvl3pPr>
            <a:lvl4pPr>
              <a:defRPr sz="700"/>
            </a:lvl4pPr>
            <a:lvl5pPr>
              <a:defRPr sz="700"/>
            </a:lvl5pPr>
          </a:lstStyle>
          <a:p>
            <a:pPr lvl="0"/>
            <a:r>
              <a:rPr lang="en-US" dirty="0"/>
              <a:t>Source: Edit source here</a:t>
            </a:r>
          </a:p>
        </p:txBody>
      </p:sp>
      <p:grpSp>
        <p:nvGrpSpPr>
          <p:cNvPr id="17" name="Group 16"/>
          <p:cNvGrpSpPr/>
          <p:nvPr userDrawn="1"/>
        </p:nvGrpSpPr>
        <p:grpSpPr>
          <a:xfrm>
            <a:off x="619125" y="6583046"/>
            <a:ext cx="1837164" cy="183809"/>
            <a:chOff x="914400" y="7899655"/>
            <a:chExt cx="2713350" cy="220571"/>
          </a:xfrm>
        </p:grpSpPr>
        <p:sp>
          <p:nvSpPr>
            <p:cNvPr id="2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000000">
                      <a:alpha val="60000"/>
                    </a:srgbClr>
                  </a:solidFill>
                  <a:latin typeface="IBM Plex Sans" charset="0"/>
                  <a:ea typeface="IBM Plex Sans" charset="0"/>
                  <a:cs typeface="IBM Plex Sans" charset="0"/>
                </a:rPr>
                <a:t>©</a:t>
              </a:r>
              <a:r>
                <a:rPr lang="en-US" sz="300" b="0" dirty="0">
                  <a:solidFill>
                    <a:srgbClr val="000000">
                      <a:alpha val="60000"/>
                    </a:srgbClr>
                  </a:solidFill>
                  <a:latin typeface="IBM Plex Sans" charset="0"/>
                  <a:ea typeface="IBM Plex Sans" charset="0"/>
                  <a:cs typeface="IBM Plex Sans" charset="0"/>
                </a:rPr>
                <a:t> </a:t>
              </a:r>
              <a:r>
                <a:rPr lang="en-US" sz="600" b="0" dirty="0">
                  <a:solidFill>
                    <a:srgbClr val="000000">
                      <a:alpha val="60000"/>
                    </a:srgbClr>
                  </a:solidFill>
                  <a:latin typeface="IBM Plex Sans" charset="0"/>
                  <a:ea typeface="IBM Plex Sans" charset="0"/>
                  <a:cs typeface="IBM Plex Sans" charset="0"/>
                </a:rPr>
                <a:t>2017 IBM Corporation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000000">
                      <a:alpha val="60000"/>
                    </a:srgbClr>
                  </a:solidFill>
                  <a:latin typeface="IBM Plex Sans" charset="0"/>
                  <a:ea typeface="IBM Plex Sans" charset="0"/>
                  <a:cs typeface="IBM Plex Sans" charset="0"/>
                </a:rPr>
                <a:t> </a:t>
              </a:r>
              <a:fld id="{7C9968D1-C8E5-4FE3-AED4-7D4518C301B3}" type="datetime3">
                <a:rPr lang="en-US" sz="600" b="0" smtClean="0">
                  <a:solidFill>
                    <a:srgbClr val="000000">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000000">
                    <a:alpha val="60000"/>
                  </a:srgbClr>
                </a:solidFill>
                <a:latin typeface="IBM Plex Sans" charset="0"/>
                <a:ea typeface="IBM Plex Sans" charset="0"/>
                <a:cs typeface="IBM Plex Sans" charset="0"/>
              </a:endParaRPr>
            </a:p>
          </p:txBody>
        </p:sp>
      </p:grpSp>
      <p:sp>
        <p:nvSpPr>
          <p:cNvPr id="23" name="Footer Placeholder 3"/>
          <p:cNvSpPr txBox="1">
            <a:spLocks/>
          </p:cNvSpPr>
          <p:nvPr userDrawn="1"/>
        </p:nvSpPr>
        <p:spPr>
          <a:xfrm>
            <a:off x="2631281" y="6583680"/>
            <a:ext cx="154674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000000">
                    <a:alpha val="60000"/>
                  </a:srgbClr>
                </a:solidFill>
                <a:latin typeface="IBM Plex Sans" charset="0"/>
                <a:ea typeface="IBM Plex Sans" charset="0"/>
                <a:cs typeface="IBM Plex Sans" charset="0"/>
              </a:rPr>
              <a:t>IBM Institute for Business Value</a:t>
            </a:r>
          </a:p>
        </p:txBody>
      </p:sp>
      <p:sp>
        <p:nvSpPr>
          <p:cNvPr id="24"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000000"/>
                </a:solidFill>
                <a:latin typeface="IBM Plex Sans" charset="0"/>
                <a:ea typeface="IBM Plex Sans" charset="0"/>
                <a:cs typeface="IBM Plex Sans" charset="0"/>
              </a:rPr>
              <a:pPr fontAlgn="auto">
                <a:spcBef>
                  <a:spcPts val="0"/>
                </a:spcBef>
                <a:spcAft>
                  <a:spcPts val="0"/>
                </a:spcAft>
              </a:pPr>
              <a:t>‹#›</a:t>
            </a:fld>
            <a:endParaRPr lang="en-US" sz="600" b="0" dirty="0">
              <a:solidFill>
                <a:srgbClr val="000000"/>
              </a:solidFill>
              <a:latin typeface="IBM Plex Sans" charset="0"/>
              <a:ea typeface="IBM Plex Sans" charset="0"/>
              <a:cs typeface="IBM Plex Sans" charset="0"/>
            </a:endParaRPr>
          </a:p>
        </p:txBody>
      </p:sp>
    </p:spTree>
    <p:extLst>
      <p:ext uri="{BB962C8B-B14F-4D97-AF65-F5344CB8AC3E}">
        <p14:creationId xmlns:p14="http://schemas.microsoft.com/office/powerpoint/2010/main" val="26983687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4_Title and Content">
    <p:spTree>
      <p:nvGrpSpPr>
        <p:cNvPr id="1" name=""/>
        <p:cNvGrpSpPr/>
        <p:nvPr/>
      </p:nvGrpSpPr>
      <p:grpSpPr>
        <a:xfrm>
          <a:off x="0" y="0"/>
          <a:ext cx="0" cy="0"/>
          <a:chOff x="0" y="0"/>
          <a:chExt cx="0" cy="0"/>
        </a:xfrm>
      </p:grpSpPr>
      <p:sp>
        <p:nvSpPr>
          <p:cNvPr id="16" name="Content Placeholder 2"/>
          <p:cNvSpPr>
            <a:spLocks noGrp="1"/>
          </p:cNvSpPr>
          <p:nvPr>
            <p:ph idx="13"/>
          </p:nvPr>
        </p:nvSpPr>
        <p:spPr>
          <a:xfrm>
            <a:off x="4953000" y="3429000"/>
            <a:ext cx="2476500" cy="3429000"/>
          </a:xfrm>
          <a:prstGeom prst="rect">
            <a:avLst/>
          </a:prstGeom>
          <a:solidFill>
            <a:schemeClr val="tx1"/>
          </a:solidFill>
        </p:spPr>
        <p:txBody>
          <a:bodyPr lIns="167632" tIns="167632" rIns="167632" bIns="33526">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4"/>
          </p:nvPr>
        </p:nvSpPr>
        <p:spPr>
          <a:xfrm>
            <a:off x="7430159" y="3429000"/>
            <a:ext cx="2476500" cy="3429000"/>
          </a:xfrm>
          <a:prstGeom prst="rect">
            <a:avLst/>
          </a:prstGeom>
          <a:solidFill>
            <a:schemeClr val="tx1"/>
          </a:solidFill>
        </p:spPr>
        <p:txBody>
          <a:bodyPr lIns="167632" tIns="167632" rIns="167632" bIns="33526">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0" y="3429000"/>
            <a:ext cx="2476500" cy="3429000"/>
          </a:xfrm>
          <a:prstGeom prst="rect">
            <a:avLst/>
          </a:prstGeom>
          <a:solidFill>
            <a:schemeClr val="tx1"/>
          </a:solidFill>
        </p:spPr>
        <p:txBody>
          <a:bodyPr lIns="335265" tIns="167632" rIns="167632" bIns="33526">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2476500" y="3429000"/>
            <a:ext cx="2476500" cy="3429000"/>
          </a:xfrm>
          <a:prstGeom prst="rect">
            <a:avLst/>
          </a:prstGeom>
          <a:solidFill>
            <a:schemeClr val="tx1"/>
          </a:solidFill>
        </p:spPr>
        <p:txBody>
          <a:bodyPr lIns="167632" tIns="167632" rIns="167632" bIns="33526">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309562" y="571500"/>
            <a:ext cx="8358188" cy="952500"/>
          </a:xfrm>
        </p:spPr>
        <p:txBody>
          <a:bodyPr>
            <a:noAutofit/>
          </a:bodyPr>
          <a:lstStyle>
            <a:lvl1pPr>
              <a:defRPr>
                <a:solidFill>
                  <a:schemeClr val="bg2"/>
                </a:solidFill>
                <a:latin typeface="IBM Plex Sans" charset="0"/>
                <a:ea typeface="IBM Plex Sans" charset="0"/>
                <a:cs typeface="IBM Plex Sans" charset="0"/>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309563" y="220980"/>
            <a:ext cx="4457700" cy="228600"/>
          </a:xfrm>
          <a:prstGeom prst="rect">
            <a:avLst/>
          </a:prstGeom>
        </p:spPr>
        <p:txBody>
          <a:bodyPr lIns="0" tIns="0" rIns="0" bIns="0">
            <a:noAutofit/>
          </a:bodyPr>
          <a:lstStyle>
            <a:lvl1pPr marL="0" indent="0">
              <a:tabLst/>
              <a:defRPr sz="1200" b="0" i="0">
                <a:solidFill>
                  <a:schemeClr val="accent1"/>
                </a:solidFill>
                <a:latin typeface="IBM Plex Sans" charset="0"/>
                <a:ea typeface="IBM Plex Sans" charset="0"/>
                <a:cs typeface="IBM Plex Sans" charset="0"/>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946" y="6515120"/>
            <a:ext cx="383309" cy="190501"/>
          </a:xfrm>
          <a:prstGeom prst="rect">
            <a:avLst/>
          </a:prstGeom>
        </p:spPr>
      </p:pic>
      <p:cxnSp>
        <p:nvCxnSpPr>
          <p:cNvPr id="24" name="Straight Connector 23"/>
          <p:cNvCxnSpPr/>
          <p:nvPr userDrawn="1"/>
        </p:nvCxnSpPr>
        <p:spPr>
          <a:xfrm>
            <a:off x="4953000" y="3429000"/>
            <a:ext cx="0" cy="3048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429500" y="3429000"/>
            <a:ext cx="0" cy="3048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2476500" y="3429000"/>
            <a:ext cx="0" cy="3048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pSp>
        <p:nvGrpSpPr>
          <p:cNvPr id="19" name="Group 18"/>
          <p:cNvGrpSpPr/>
          <p:nvPr userDrawn="1"/>
        </p:nvGrpSpPr>
        <p:grpSpPr>
          <a:xfrm>
            <a:off x="619125" y="6583046"/>
            <a:ext cx="1837164" cy="183809"/>
            <a:chOff x="914400" y="7899655"/>
            <a:chExt cx="2713350" cy="220571"/>
          </a:xfrm>
        </p:grpSpPr>
        <p:sp>
          <p:nvSpPr>
            <p:cNvPr id="2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a:t>
              </a:r>
              <a:r>
                <a:rPr lang="en-US" sz="300" b="0" dirty="0">
                  <a:solidFill>
                    <a:srgbClr val="FFFFFF">
                      <a:alpha val="60000"/>
                    </a:srgbClr>
                  </a:solidFill>
                  <a:latin typeface="IBM Plex Sans" charset="0"/>
                  <a:ea typeface="IBM Plex Sans" charset="0"/>
                  <a:cs typeface="IBM Plex Sans" charset="0"/>
                </a:rPr>
                <a:t> </a:t>
              </a:r>
              <a:r>
                <a:rPr lang="en-US" sz="600" b="0" dirty="0">
                  <a:solidFill>
                    <a:srgbClr val="FFFFFF">
                      <a:alpha val="60000"/>
                    </a:srgbClr>
                  </a:solidFill>
                  <a:latin typeface="IBM Plex Sans" charset="0"/>
                  <a:ea typeface="IBM Plex Sans" charset="0"/>
                  <a:cs typeface="IBM Plex Sans" charset="0"/>
                </a:rPr>
                <a:t>2018 IBM Corporation               </a:t>
              </a:r>
            </a:p>
          </p:txBody>
        </p:sp>
        <p:sp>
          <p:nvSpPr>
            <p:cNvPr id="21"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FFFFFF">
                      <a:alpha val="60000"/>
                    </a:srgbClr>
                  </a:solidFill>
                  <a:latin typeface="IBM Plex Sans" charset="0"/>
                  <a:ea typeface="IBM Plex Sans" charset="0"/>
                  <a:cs typeface="IBM Plex Sans" charset="0"/>
                </a:rPr>
                <a:t> </a:t>
              </a:r>
              <a:fld id="{7C9968D1-C8E5-4FE3-AED4-7D4518C301B3}" type="datetime3">
                <a:rPr lang="en-US" sz="600" b="0" smtClean="0">
                  <a:solidFill>
                    <a:srgbClr val="FFFFFF">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FFFFFF">
                    <a:alpha val="60000"/>
                  </a:srgbClr>
                </a:solidFill>
                <a:latin typeface="IBM Plex Sans" charset="0"/>
                <a:ea typeface="IBM Plex Sans" charset="0"/>
                <a:cs typeface="IBM Plex Sans" charset="0"/>
              </a:endParaRPr>
            </a:p>
          </p:txBody>
        </p:sp>
      </p:grpSp>
      <p:sp>
        <p:nvSpPr>
          <p:cNvPr id="22" name="Footer Placeholder 3"/>
          <p:cNvSpPr txBox="1">
            <a:spLocks/>
          </p:cNvSpPr>
          <p:nvPr userDrawn="1"/>
        </p:nvSpPr>
        <p:spPr>
          <a:xfrm>
            <a:off x="2631281" y="6583680"/>
            <a:ext cx="154674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a:solidFill>
                  <a:srgbClr val="FFFFFF">
                    <a:alpha val="60000"/>
                  </a:srgbClr>
                </a:solidFill>
                <a:latin typeface="IBM Plex Sans" charset="0"/>
                <a:ea typeface="IBM Plex Sans" charset="0"/>
                <a:cs typeface="IBM Plex Sans" charset="0"/>
              </a:rPr>
              <a:t>IBM Institute for Business Value</a:t>
            </a:r>
            <a:endParaRPr lang="en-US" sz="600" b="0" dirty="0">
              <a:solidFill>
                <a:srgbClr val="FFFFFF">
                  <a:alpha val="60000"/>
                </a:srgbClr>
              </a:solidFill>
              <a:latin typeface="IBM Plex Sans" charset="0"/>
              <a:ea typeface="IBM Plex Sans" charset="0"/>
              <a:cs typeface="IBM Plex Sans" charset="0"/>
            </a:endParaRPr>
          </a:p>
        </p:txBody>
      </p:sp>
      <p:sp>
        <p:nvSpPr>
          <p:cNvPr id="23"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sp>
        <p:nvSpPr>
          <p:cNvPr id="27" name="Text Placeholder 23"/>
          <p:cNvSpPr>
            <a:spLocks noGrp="1"/>
          </p:cNvSpPr>
          <p:nvPr>
            <p:ph type="body" sz="quarter" idx="15" hasCustomPrompt="1"/>
          </p:nvPr>
        </p:nvSpPr>
        <p:spPr>
          <a:xfrm>
            <a:off x="309562" y="6118860"/>
            <a:ext cx="4519613" cy="381000"/>
          </a:xfrm>
          <a:prstGeom prst="rect">
            <a:avLst/>
          </a:prstGeom>
        </p:spPr>
        <p:txBody>
          <a:bodyPr lIns="0" tIns="0" rIns="0" bIns="0" anchor="b"/>
          <a:lstStyle>
            <a:lvl1pPr marL="0" indent="0">
              <a:tabLst/>
              <a:defRPr sz="600" b="0" i="0">
                <a:solidFill>
                  <a:schemeClr val="bg2">
                    <a:alpha val="70000"/>
                  </a:schemeClr>
                </a:solidFill>
                <a:latin typeface="IBM Plex Sans" charset="0"/>
                <a:ea typeface="IBM Plex Sans" charset="0"/>
                <a:cs typeface="IBM Plex Sans" charset="0"/>
              </a:defRPr>
            </a:lvl1pPr>
            <a:lvl2pPr>
              <a:defRPr sz="700"/>
            </a:lvl2pPr>
            <a:lvl3pPr>
              <a:defRPr sz="700"/>
            </a:lvl3pPr>
            <a:lvl4pPr>
              <a:defRPr sz="700"/>
            </a:lvl4pPr>
            <a:lvl5pPr>
              <a:defRPr sz="700"/>
            </a:lvl5pPr>
          </a:lstStyle>
          <a:p>
            <a:pPr lvl="0"/>
            <a:r>
              <a:rPr lang="en-US" dirty="0"/>
              <a:t>Source: Edit source here</a:t>
            </a:r>
          </a:p>
        </p:txBody>
      </p:sp>
    </p:spTree>
    <p:extLst>
      <p:ext uri="{BB962C8B-B14F-4D97-AF65-F5344CB8AC3E}">
        <p14:creationId xmlns:p14="http://schemas.microsoft.com/office/powerpoint/2010/main" val="22610721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16" name="Content Placeholder 2"/>
          <p:cNvSpPr>
            <a:spLocks noGrp="1"/>
          </p:cNvSpPr>
          <p:nvPr>
            <p:ph idx="13"/>
          </p:nvPr>
        </p:nvSpPr>
        <p:spPr>
          <a:xfrm>
            <a:off x="4953000" y="1714500"/>
            <a:ext cx="2476500" cy="4572000"/>
          </a:xfrm>
          <a:prstGeom prst="rect">
            <a:avLst/>
          </a:prstGeom>
        </p:spPr>
        <p:txBody>
          <a:bodyPr lIns="167632" tIns="167632" rIns="167632" bIns="33526">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4"/>
          </p:nvPr>
        </p:nvSpPr>
        <p:spPr>
          <a:xfrm>
            <a:off x="7430159" y="1714498"/>
            <a:ext cx="2476500" cy="4572000"/>
          </a:xfrm>
          <a:prstGeom prst="rect">
            <a:avLst/>
          </a:prstGeom>
        </p:spPr>
        <p:txBody>
          <a:bodyPr lIns="167632" tIns="167632" rIns="167632" bIns="33526">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0" y="1714498"/>
            <a:ext cx="2476500" cy="4572000"/>
          </a:xfrm>
          <a:prstGeom prst="rect">
            <a:avLst/>
          </a:prstGeom>
        </p:spPr>
        <p:txBody>
          <a:bodyPr lIns="335265" tIns="167632" rIns="167632" bIns="33526">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2476500" y="1714500"/>
            <a:ext cx="2476500" cy="4572000"/>
          </a:xfrm>
          <a:prstGeom prst="rect">
            <a:avLst/>
          </a:prstGeom>
        </p:spPr>
        <p:txBody>
          <a:bodyPr lIns="167632" tIns="167632" rIns="167632" bIns="33526">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0" y="0"/>
            <a:ext cx="9906000" cy="17144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hasCustomPrompt="1"/>
          </p:nvPr>
        </p:nvSpPr>
        <p:spPr>
          <a:xfrm>
            <a:off x="309562" y="571500"/>
            <a:ext cx="8358188" cy="952500"/>
          </a:xfrm>
        </p:spPr>
        <p:txBody>
          <a:bodyPr>
            <a:noAutofit/>
          </a:bodyPr>
          <a:lstStyle>
            <a:lvl1pPr>
              <a:defRPr>
                <a:solidFill>
                  <a:schemeClr val="tx1"/>
                </a:solidFill>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309563" y="220980"/>
            <a:ext cx="4457700" cy="228600"/>
          </a:xfrm>
          <a:prstGeom prst="rect">
            <a:avLst/>
          </a:prstGeom>
        </p:spPr>
        <p:txBody>
          <a:bodyPr lIns="0" tIns="0" rIns="0" bIns="0">
            <a:noAutofit/>
          </a:bodyPr>
          <a:lstStyle>
            <a:lvl1pPr marL="0" indent="0">
              <a:tabLst/>
              <a:defRPr sz="1200" b="0" i="0">
                <a:solidFill>
                  <a:schemeClr val="accent1"/>
                </a:solidFill>
                <a:latin typeface="IBM Plex Sans" charset="0"/>
                <a:ea typeface="IBM Plex Sans" charset="0"/>
                <a:cs typeface="IBM Plex Sans" charset="0"/>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cxnSp>
        <p:nvCxnSpPr>
          <p:cNvPr id="10" name="Straight Connector 9"/>
          <p:cNvCxnSpPr/>
          <p:nvPr userDrawn="1"/>
        </p:nvCxnSpPr>
        <p:spPr>
          <a:xfrm>
            <a:off x="4953000" y="1714498"/>
            <a:ext cx="0" cy="4572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7429500" y="1714498"/>
            <a:ext cx="0" cy="4572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2476500" y="1714498"/>
            <a:ext cx="0" cy="4572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23"/>
          <p:cNvSpPr>
            <a:spLocks noGrp="1"/>
          </p:cNvSpPr>
          <p:nvPr>
            <p:ph type="body" sz="quarter" idx="15" hasCustomPrompt="1"/>
          </p:nvPr>
        </p:nvSpPr>
        <p:spPr>
          <a:xfrm>
            <a:off x="309562" y="6118860"/>
            <a:ext cx="4519613" cy="381000"/>
          </a:xfrm>
          <a:prstGeom prst="rect">
            <a:avLst/>
          </a:prstGeom>
        </p:spPr>
        <p:txBody>
          <a:bodyPr lIns="0" tIns="0" rIns="0" bIns="0" anchor="b"/>
          <a:lstStyle>
            <a:lvl1pPr marL="0" indent="0">
              <a:tabLst/>
              <a:defRPr sz="600" b="0" i="0">
                <a:solidFill>
                  <a:schemeClr val="bg2">
                    <a:alpha val="70000"/>
                  </a:schemeClr>
                </a:solidFill>
                <a:latin typeface="IBM Plex Sans" charset="0"/>
                <a:ea typeface="IBM Plex Sans" charset="0"/>
                <a:cs typeface="IBM Plex Sans" charset="0"/>
              </a:defRPr>
            </a:lvl1pPr>
            <a:lvl2pPr>
              <a:defRPr sz="700"/>
            </a:lvl2pPr>
            <a:lvl3pPr>
              <a:defRPr sz="700"/>
            </a:lvl3pPr>
            <a:lvl4pPr>
              <a:defRPr sz="700"/>
            </a:lvl4pPr>
            <a:lvl5pPr>
              <a:defRPr sz="700"/>
            </a:lvl5pPr>
          </a:lstStyle>
          <a:p>
            <a:pPr lvl="0"/>
            <a:r>
              <a:rPr lang="en-US" dirty="0"/>
              <a:t>Source: Edit source here</a:t>
            </a:r>
          </a:p>
        </p:txBody>
      </p:sp>
    </p:spTree>
    <p:extLst>
      <p:ext uri="{BB962C8B-B14F-4D97-AF65-F5344CB8AC3E}">
        <p14:creationId xmlns:p14="http://schemas.microsoft.com/office/powerpoint/2010/main" val="29648705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6_Title and Content">
    <p:spTree>
      <p:nvGrpSpPr>
        <p:cNvPr id="1" name=""/>
        <p:cNvGrpSpPr/>
        <p:nvPr/>
      </p:nvGrpSpPr>
      <p:grpSpPr>
        <a:xfrm>
          <a:off x="0" y="0"/>
          <a:ext cx="0" cy="0"/>
          <a:chOff x="0" y="0"/>
          <a:chExt cx="0" cy="0"/>
        </a:xfrm>
      </p:grpSpPr>
      <p:sp>
        <p:nvSpPr>
          <p:cNvPr id="18" name="Content Placeholder 2"/>
          <p:cNvSpPr>
            <a:spLocks noGrp="1"/>
          </p:cNvSpPr>
          <p:nvPr>
            <p:ph idx="17"/>
          </p:nvPr>
        </p:nvSpPr>
        <p:spPr>
          <a:xfrm>
            <a:off x="2476500" y="3429000"/>
            <a:ext cx="2476500" cy="3429000"/>
          </a:xfrm>
          <a:prstGeom prst="rect">
            <a:avLst/>
          </a:prstGeom>
          <a:solidFill>
            <a:schemeClr val="tx1"/>
          </a:solidFill>
        </p:spPr>
        <p:txBody>
          <a:bodyPr lIns="167632" tIns="167632" rIns="167632" bIns="33526">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3"/>
          </p:nvPr>
        </p:nvSpPr>
        <p:spPr>
          <a:xfrm>
            <a:off x="4953000" y="2"/>
            <a:ext cx="2476500" cy="3429000"/>
          </a:xfrm>
          <a:prstGeom prst="rect">
            <a:avLst/>
          </a:prstGeom>
          <a:solidFill>
            <a:schemeClr val="tx1"/>
          </a:solidFill>
        </p:spPr>
        <p:txBody>
          <a:bodyPr lIns="167632" tIns="167632" rIns="167632" bIns="33526">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4"/>
          </p:nvPr>
        </p:nvSpPr>
        <p:spPr>
          <a:xfrm>
            <a:off x="7430159" y="0"/>
            <a:ext cx="2476500" cy="3429000"/>
          </a:xfrm>
          <a:prstGeom prst="rect">
            <a:avLst/>
          </a:prstGeom>
          <a:solidFill>
            <a:schemeClr val="tx1"/>
          </a:solidFill>
        </p:spPr>
        <p:txBody>
          <a:bodyPr lIns="167632" tIns="167632" rIns="167632" bIns="33526">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2476500" y="2"/>
            <a:ext cx="2476500" cy="3429000"/>
          </a:xfrm>
          <a:prstGeom prst="rect">
            <a:avLst/>
          </a:prstGeom>
          <a:solidFill>
            <a:schemeClr val="tx1"/>
          </a:solidFill>
        </p:spPr>
        <p:txBody>
          <a:bodyPr lIns="167632" tIns="167632" rIns="167632" bIns="33526">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5"/>
          </p:nvPr>
        </p:nvSpPr>
        <p:spPr>
          <a:xfrm>
            <a:off x="4953000" y="3429000"/>
            <a:ext cx="2476500" cy="3429000"/>
          </a:xfrm>
          <a:prstGeom prst="rect">
            <a:avLst/>
          </a:prstGeom>
          <a:solidFill>
            <a:schemeClr val="tx1"/>
          </a:solidFill>
        </p:spPr>
        <p:txBody>
          <a:bodyPr lIns="167632" tIns="167632" rIns="167632" bIns="33526">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6"/>
          </p:nvPr>
        </p:nvSpPr>
        <p:spPr>
          <a:xfrm>
            <a:off x="7430159" y="3429000"/>
            <a:ext cx="2476500" cy="3429000"/>
          </a:xfrm>
          <a:prstGeom prst="rect">
            <a:avLst/>
          </a:prstGeom>
          <a:solidFill>
            <a:schemeClr val="tx1"/>
          </a:solidFill>
        </p:spPr>
        <p:txBody>
          <a:bodyPr lIns="167632" tIns="167632" rIns="167632" bIns="33526">
            <a:noAutofit/>
          </a:bodyPr>
          <a:lstStyle>
            <a:lvl1pPr>
              <a:defRPr b="0" i="0">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09563" y="1714500"/>
            <a:ext cx="2012156" cy="3048000"/>
          </a:xfrm>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309563" y="220980"/>
            <a:ext cx="2012156" cy="685800"/>
          </a:xfrm>
          <a:prstGeom prst="rect">
            <a:avLst/>
          </a:prstGeom>
        </p:spPr>
        <p:txBody>
          <a:bodyPr lIns="0" tIns="0" rIns="0" bIns="0">
            <a:noAutofit/>
          </a:bodyPr>
          <a:lstStyle>
            <a:lvl1pPr marL="0" indent="0">
              <a:tabLst/>
              <a:defRPr sz="1200" b="0" i="0">
                <a:solidFill>
                  <a:schemeClr val="accent1"/>
                </a:solidFill>
                <a:latin typeface="IBM Plex Sans" charset="0"/>
                <a:ea typeface="IBM Plex Sans" charset="0"/>
                <a:cs typeface="IBM Plex Sans" charset="0"/>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946" y="6515120"/>
            <a:ext cx="383309" cy="190501"/>
          </a:xfrm>
          <a:prstGeom prst="rect">
            <a:avLst/>
          </a:prstGeom>
        </p:spPr>
      </p:pic>
      <p:cxnSp>
        <p:nvCxnSpPr>
          <p:cNvPr id="19" name="Straight Connector 18"/>
          <p:cNvCxnSpPr/>
          <p:nvPr userDrawn="1"/>
        </p:nvCxnSpPr>
        <p:spPr>
          <a:xfrm>
            <a:off x="4953000" y="3429000"/>
            <a:ext cx="0" cy="30480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7429500" y="3429000"/>
            <a:ext cx="0" cy="30480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4953000" y="0"/>
            <a:ext cx="0" cy="30480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7429500" y="0"/>
            <a:ext cx="0" cy="30480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sp>
        <p:nvSpPr>
          <p:cNvPr id="40" name="Text Placeholder 23"/>
          <p:cNvSpPr>
            <a:spLocks noGrp="1"/>
          </p:cNvSpPr>
          <p:nvPr>
            <p:ph type="body" sz="quarter" idx="18" hasCustomPrompt="1"/>
          </p:nvPr>
        </p:nvSpPr>
        <p:spPr>
          <a:xfrm>
            <a:off x="309563" y="6118860"/>
            <a:ext cx="2105025" cy="381000"/>
          </a:xfrm>
          <a:prstGeom prst="rect">
            <a:avLst/>
          </a:prstGeom>
        </p:spPr>
        <p:txBody>
          <a:bodyPr lIns="0" tIns="0" rIns="0" bIns="0" anchor="b"/>
          <a:lstStyle>
            <a:lvl1pPr marL="0" indent="0">
              <a:tabLst/>
              <a:defRPr sz="600" b="0" i="0">
                <a:solidFill>
                  <a:schemeClr val="bg2">
                    <a:alpha val="70000"/>
                  </a:schemeClr>
                </a:solidFill>
                <a:latin typeface="IBM Plex Sans" charset="0"/>
                <a:ea typeface="IBM Plex Sans" charset="0"/>
                <a:cs typeface="IBM Plex Sans" charset="0"/>
              </a:defRPr>
            </a:lvl1pPr>
            <a:lvl2pPr>
              <a:defRPr sz="700"/>
            </a:lvl2pPr>
            <a:lvl3pPr>
              <a:defRPr sz="700"/>
            </a:lvl3pPr>
            <a:lvl4pPr>
              <a:defRPr sz="700"/>
            </a:lvl4pPr>
            <a:lvl5pPr>
              <a:defRPr sz="700"/>
            </a:lvl5pPr>
          </a:lstStyle>
          <a:p>
            <a:pPr lvl="0"/>
            <a:r>
              <a:rPr lang="en-US" dirty="0"/>
              <a:t>Source: Edit source here</a:t>
            </a:r>
          </a:p>
        </p:txBody>
      </p:sp>
      <p:sp>
        <p:nvSpPr>
          <p:cNvPr id="23" name="Footer Placeholder 3"/>
          <p:cNvSpPr txBox="1">
            <a:spLocks/>
          </p:cNvSpPr>
          <p:nvPr userDrawn="1"/>
        </p:nvSpPr>
        <p:spPr>
          <a:xfrm>
            <a:off x="2631281" y="6583680"/>
            <a:ext cx="154674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IBM Institute for Business Value</a:t>
            </a:r>
          </a:p>
        </p:txBody>
      </p:sp>
    </p:spTree>
    <p:extLst>
      <p:ext uri="{BB962C8B-B14F-4D97-AF65-F5344CB8AC3E}">
        <p14:creationId xmlns:p14="http://schemas.microsoft.com/office/powerpoint/2010/main" val="1539784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pic>
        <p:nvPicPr>
          <p:cNvPr id="4" name="Picture 14" descr="PowerPoint_cover"/>
          <p:cNvPicPr>
            <a:picLocks noChangeAspect="1" noChangeArrowheads="1"/>
          </p:cNvPicPr>
          <p:nvPr userDrawn="1"/>
        </p:nvPicPr>
        <p:blipFill>
          <a:blip r:embed="rId2">
            <a:extLst>
              <a:ext uri="{28A0092B-C50C-407E-A947-70E740481C1C}">
                <a14:useLocalDpi xmlns:a14="http://schemas.microsoft.com/office/drawing/2010/main" val="0"/>
              </a:ext>
            </a:extLst>
          </a:blip>
          <a:srcRect l="-882" r="-160"/>
          <a:stretch>
            <a:fillRect/>
          </a:stretch>
        </p:blipFill>
        <p:spPr bwMode="auto">
          <a:xfrm>
            <a:off x="-87313" y="-6350"/>
            <a:ext cx="10009188" cy="410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3" descr="5300_IBMpos_black"/>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0725" y="6472238"/>
            <a:ext cx="608013" cy="22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6658" name="Rectangle 2"/>
          <p:cNvSpPr>
            <a:spLocks noGrp="1" noChangeArrowheads="1"/>
          </p:cNvSpPr>
          <p:nvPr>
            <p:ph type="ctrTitle" sz="quarter"/>
          </p:nvPr>
        </p:nvSpPr>
        <p:spPr>
          <a:xfrm>
            <a:off x="617538" y="2249488"/>
            <a:ext cx="4805362" cy="730250"/>
          </a:xfrm>
          <a:prstGeom prst="rect">
            <a:avLst/>
          </a:prstGeom>
          <a:ln w="9525">
            <a:prstDash val="solid"/>
          </a:ln>
        </p:spPr>
        <p:txBody>
          <a:bodyPr lIns="91440" tIns="45720" rIns="91440" bIns="45720" anchor="t"/>
          <a:lstStyle>
            <a:lvl1pPr>
              <a:lnSpc>
                <a:spcPct val="100000"/>
              </a:lnSpc>
              <a:spcAft>
                <a:spcPct val="50000"/>
              </a:spcAft>
              <a:defRPr sz="2000">
                <a:solidFill>
                  <a:schemeClr val="tx2"/>
                </a:solidFill>
              </a:defRPr>
            </a:lvl1pPr>
          </a:lstStyle>
          <a:p>
            <a:r>
              <a:rPr lang="en-US" altLang="ko-KR"/>
              <a:t>Click to edit Master title style</a:t>
            </a:r>
          </a:p>
        </p:txBody>
      </p:sp>
      <p:sp>
        <p:nvSpPr>
          <p:cNvPr id="326659" name="Rectangle 3"/>
          <p:cNvSpPr>
            <a:spLocks noGrp="1" noChangeArrowheads="1"/>
          </p:cNvSpPr>
          <p:nvPr>
            <p:ph type="subTitle" sz="quarter" idx="1"/>
          </p:nvPr>
        </p:nvSpPr>
        <p:spPr>
          <a:xfrm>
            <a:off x="774700" y="4387850"/>
            <a:ext cx="4648200" cy="914400"/>
          </a:xfrm>
          <a:prstGeom prst="rect">
            <a:avLst/>
          </a:prstGeom>
          <a:ln w="9525">
            <a:prstDash val="solid"/>
          </a:ln>
        </p:spPr>
        <p:txBody>
          <a:bodyPr lIns="91440" tIns="45720" rIns="91440" bIns="45720" anchor="b"/>
          <a:lstStyle>
            <a:lvl1pPr>
              <a:spcAft>
                <a:spcPct val="10000"/>
              </a:spcAft>
              <a:defRPr b="0">
                <a:solidFill>
                  <a:schemeClr val="bg2"/>
                </a:solidFill>
              </a:defRPr>
            </a:lvl1pPr>
          </a:lstStyle>
          <a:p>
            <a:r>
              <a:rPr lang="en-US" altLang="ko-KR"/>
              <a:t>Click to edit Master subtitle style</a:t>
            </a:r>
          </a:p>
        </p:txBody>
      </p:sp>
    </p:spTree>
    <p:extLst>
      <p:ext uri="{BB962C8B-B14F-4D97-AF65-F5344CB8AC3E}">
        <p14:creationId xmlns:p14="http://schemas.microsoft.com/office/powerpoint/2010/main" val="16034877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sp>
        <p:nvSpPr>
          <p:cNvPr id="6" name="Rectangle 5"/>
          <p:cNvSpPr/>
          <p:nvPr userDrawn="1"/>
        </p:nvSpPr>
        <p:spPr>
          <a:xfrm flipH="1">
            <a:off x="0" y="1058"/>
            <a:ext cx="4953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hasCustomPrompt="1"/>
          </p:nvPr>
        </p:nvSpPr>
        <p:spPr>
          <a:xfrm>
            <a:off x="309563" y="571500"/>
            <a:ext cx="4439126" cy="9525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4457700" cy="4381500"/>
          </a:xfrm>
          <a:prstGeom prst="rect">
            <a:avLst/>
          </a:prstGeom>
        </p:spPr>
        <p:txBody>
          <a:bodyPr lIns="67053" tIns="0" rIns="67053" bIns="33526">
            <a:noAutofit/>
          </a:bodyPr>
          <a:lstStyle>
            <a:lvl1pPr>
              <a:defRPr>
                <a:latin typeface="IBM Plex Sans" charset="0"/>
                <a:ea typeface="IBM Plex Sans" charset="0"/>
                <a:cs typeface="IBM Plex Sans" charset="0"/>
              </a:defRPr>
            </a:lvl1pPr>
            <a:lvl2pPr>
              <a:defRPr>
                <a:latin typeface="IBM Plex Sans" charset="0"/>
                <a:ea typeface="IBM Plex Sans" charset="0"/>
                <a:cs typeface="IBM Plex Sans" charset="0"/>
              </a:defRPr>
            </a:lvl2pPr>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5107781" y="1714500"/>
            <a:ext cx="4457700" cy="4381500"/>
          </a:xfrm>
          <a:prstGeom prst="rect">
            <a:avLst/>
          </a:prstGeom>
        </p:spPr>
        <p:txBody>
          <a:bodyPr lIns="67053" tIns="0" rIns="67053" bIns="33526">
            <a:noAutofit/>
          </a:bodyPr>
          <a:lstStyle>
            <a:lvl1pPr>
              <a:defRPr>
                <a:latin typeface="IBM Plex Sans" charset="0"/>
                <a:ea typeface="IBM Plex Sans" charset="0"/>
                <a:cs typeface="IBM Plex Sans" charset="0"/>
              </a:defRPr>
            </a:lvl1pPr>
            <a:lvl2pPr>
              <a:defRPr>
                <a:latin typeface="IBM Plex Sans" charset="0"/>
                <a:ea typeface="IBM Plex Sans" charset="0"/>
                <a:cs typeface="IBM Plex Sans" charset="0"/>
              </a:defRPr>
            </a:lvl2pPr>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a:prstGeom prst="rect">
            <a:avLst/>
          </a:prstGeom>
        </p:spPr>
        <p:txBody>
          <a:bodyPr lIns="67053" tIns="0" rIns="67053" bIns="33526">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309563" y="6118860"/>
            <a:ext cx="4457700" cy="381000"/>
          </a:xfrm>
          <a:prstGeom prst="rect">
            <a:avLst/>
          </a:prstGeom>
        </p:spPr>
        <p:txBody>
          <a:bodyPr lIns="67053" tIns="0" rIns="67053" bIns="33526" anchor="b"/>
          <a:lstStyle>
            <a:lvl1pPr>
              <a:defRPr sz="600" b="0">
                <a:solidFill>
                  <a:schemeClr val="bg2">
                    <a:alpha val="70000"/>
                  </a:schemeClr>
                </a:solidFill>
                <a:latin typeface="IBM Plex Sans" charset="0"/>
                <a:ea typeface="IBM Plex Sans" charset="0"/>
                <a:cs typeface="IBM Plex Sans" charset="0"/>
              </a:defRPr>
            </a:lvl1pPr>
            <a:lvl2pPr>
              <a:defRPr sz="700"/>
            </a:lvl2pPr>
            <a:lvl3pPr>
              <a:defRPr sz="700"/>
            </a:lvl3pPr>
            <a:lvl4pPr>
              <a:defRPr sz="700"/>
            </a:lvl4pPr>
            <a:lvl5pPr>
              <a:defRPr sz="700"/>
            </a:lvl5pPr>
          </a:lstStyle>
          <a:p>
            <a:pPr lvl="0"/>
            <a:r>
              <a:rPr lang="en-US" dirty="0"/>
              <a:t>Source: Edit source here</a:t>
            </a:r>
          </a:p>
        </p:txBody>
      </p:sp>
      <p:grpSp>
        <p:nvGrpSpPr>
          <p:cNvPr id="12" name="Group 11"/>
          <p:cNvGrpSpPr/>
          <p:nvPr userDrawn="1"/>
        </p:nvGrpSpPr>
        <p:grpSpPr>
          <a:xfrm>
            <a:off x="619125" y="6583046"/>
            <a:ext cx="1837164" cy="183809"/>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a:t>
              </a:r>
              <a:r>
                <a:rPr lang="en-US" sz="300" b="0" dirty="0">
                  <a:solidFill>
                    <a:srgbClr val="FFFFFF">
                      <a:alpha val="60000"/>
                    </a:srgbClr>
                  </a:solidFill>
                  <a:latin typeface="IBM Plex Sans" charset="0"/>
                  <a:ea typeface="IBM Plex Sans" charset="0"/>
                  <a:cs typeface="IBM Plex Sans" charset="0"/>
                </a:rPr>
                <a:t> </a:t>
              </a:r>
              <a:r>
                <a:rPr lang="en-US" sz="600" b="0" dirty="0">
                  <a:solidFill>
                    <a:srgbClr val="FFFFFF">
                      <a:alpha val="60000"/>
                    </a:srgbClr>
                  </a:solidFill>
                  <a:latin typeface="IBM Plex Sans" charset="0"/>
                  <a:ea typeface="IBM Plex Sans" charset="0"/>
                  <a:cs typeface="IBM Plex Sans" charset="0"/>
                </a:rPr>
                <a:t>2018 IBM Corporation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FFFFFF">
                      <a:alpha val="60000"/>
                    </a:srgbClr>
                  </a:solidFill>
                  <a:latin typeface="IBM Plex Sans" charset="0"/>
                  <a:ea typeface="IBM Plex Sans" charset="0"/>
                  <a:cs typeface="IBM Plex Sans" charset="0"/>
                </a:rPr>
                <a:t> </a:t>
              </a:r>
              <a:fld id="{7C9968D1-C8E5-4FE3-AED4-7D4518C301B3}" type="datetime3">
                <a:rPr lang="en-US" sz="600" b="0" smtClean="0">
                  <a:solidFill>
                    <a:srgbClr val="FFFFFF">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FFFFFF">
                    <a:alpha val="60000"/>
                  </a:srgbClr>
                </a:solidFill>
                <a:latin typeface="IBM Plex Sans" charset="0"/>
                <a:ea typeface="IBM Plex Sans" charset="0"/>
                <a:cs typeface="IBM Plex Sans" charset="0"/>
              </a:endParaRPr>
            </a:p>
          </p:txBody>
        </p:sp>
      </p:grpSp>
      <p:sp>
        <p:nvSpPr>
          <p:cNvPr id="16"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sp>
        <p:nvSpPr>
          <p:cNvPr id="17" name="Footer Placeholder 3"/>
          <p:cNvSpPr txBox="1">
            <a:spLocks/>
          </p:cNvSpPr>
          <p:nvPr userDrawn="1"/>
        </p:nvSpPr>
        <p:spPr>
          <a:xfrm>
            <a:off x="2631281" y="6583680"/>
            <a:ext cx="154674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IBM Institute for Business Value</a:t>
            </a:r>
          </a:p>
        </p:txBody>
      </p:sp>
    </p:spTree>
    <p:extLst>
      <p:ext uri="{BB962C8B-B14F-4D97-AF65-F5344CB8AC3E}">
        <p14:creationId xmlns:p14="http://schemas.microsoft.com/office/powerpoint/2010/main" val="26948866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2-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9562" y="571500"/>
            <a:ext cx="8358188" cy="9525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latin typeface="IBM Plex Sans" charset="0"/>
                <a:ea typeface="IBM Plex Sans" charset="0"/>
                <a:cs typeface="IBM Plex Sans" charset="0"/>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309563" y="6118860"/>
            <a:ext cx="4488656" cy="381000"/>
          </a:xfrm>
        </p:spPr>
        <p:txBody>
          <a:bodyPr tIns="0" anchor="b"/>
          <a:lstStyle>
            <a:lvl1pPr>
              <a:defRPr sz="600" b="0">
                <a:solidFill>
                  <a:schemeClr val="bg2">
                    <a:alpha val="70000"/>
                  </a:schemeClr>
                </a:solidFill>
                <a:latin typeface="IBM Plex Sans" charset="0"/>
                <a:ea typeface="IBM Plex Sans" charset="0"/>
                <a:cs typeface="IBM Plex Sans" charset="0"/>
              </a:defRPr>
            </a:lvl1pPr>
            <a:lvl2pPr>
              <a:defRPr sz="700"/>
            </a:lvl2pPr>
            <a:lvl3pPr>
              <a:defRPr sz="700"/>
            </a:lvl3pPr>
            <a:lvl4pPr>
              <a:defRPr sz="700"/>
            </a:lvl4pPr>
            <a:lvl5pPr>
              <a:defRPr sz="700"/>
            </a:lvl5pPr>
          </a:lstStyle>
          <a:p>
            <a:pPr lvl="0"/>
            <a:r>
              <a:rPr lang="en-US" dirty="0"/>
              <a:t>Source: Edit source here</a:t>
            </a:r>
          </a:p>
        </p:txBody>
      </p:sp>
      <p:sp>
        <p:nvSpPr>
          <p:cNvPr id="16"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sp>
        <p:nvSpPr>
          <p:cNvPr id="10" name="Content Placeholder 2"/>
          <p:cNvSpPr>
            <a:spLocks noGrp="1"/>
          </p:cNvSpPr>
          <p:nvPr>
            <p:ph idx="1"/>
          </p:nvPr>
        </p:nvSpPr>
        <p:spPr>
          <a:xfrm>
            <a:off x="309563" y="1714500"/>
            <a:ext cx="9286875" cy="4381500"/>
          </a:xfrm>
        </p:spPr>
        <p:txBody>
          <a:bodyPr>
            <a:noAutofit/>
          </a:bodyPr>
          <a:lstStyle>
            <a:lvl1pPr>
              <a:defRPr>
                <a:latin typeface="IBM Plex Sans" charset="0"/>
                <a:ea typeface="IBM Plex Sans" charset="0"/>
                <a:cs typeface="IBM Plex Sans" charset="0"/>
              </a:defRPr>
            </a:lvl1pPr>
            <a:lvl2pPr>
              <a:defRPr>
                <a:latin typeface="IBM Plex Sans" charset="0"/>
                <a:ea typeface="IBM Plex Sans" charset="0"/>
                <a:cs typeface="IBM Plex Sans" charset="0"/>
              </a:defRPr>
            </a:lvl2pPr>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49468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9562" y="571500"/>
            <a:ext cx="8358188" cy="9525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4488656" cy="4381500"/>
          </a:xfrm>
        </p:spPr>
        <p:txBody>
          <a:bodyPr>
            <a:noAutofit/>
          </a:bodyPr>
          <a:lstStyle>
            <a:lvl1pPr>
              <a:defRPr>
                <a:latin typeface="IBM Plex Sans" charset="0"/>
                <a:ea typeface="IBM Plex Sans" charset="0"/>
                <a:cs typeface="IBM Plex Sans" charset="0"/>
              </a:defRPr>
            </a:lvl1pPr>
            <a:lvl2pPr>
              <a:defRPr>
                <a:latin typeface="IBM Plex Sans" charset="0"/>
                <a:ea typeface="IBM Plex Sans" charset="0"/>
                <a:cs typeface="IBM Plex Sans" charset="0"/>
              </a:defRPr>
            </a:lvl2pPr>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4953000" y="1714500"/>
            <a:ext cx="4643438" cy="4381500"/>
          </a:xfrm>
        </p:spPr>
        <p:txBody>
          <a:bodyPr>
            <a:noAutofit/>
          </a:bodyPr>
          <a:lstStyle>
            <a:lvl1pPr>
              <a:defRPr>
                <a:latin typeface="IBM Plex Sans" charset="0"/>
                <a:ea typeface="IBM Plex Sans" charset="0"/>
                <a:cs typeface="IBM Plex Sans" charset="0"/>
              </a:defRPr>
            </a:lvl1pPr>
            <a:lvl2pPr>
              <a:defRPr>
                <a:latin typeface="IBM Plex Sans" charset="0"/>
                <a:ea typeface="IBM Plex Sans" charset="0"/>
                <a:cs typeface="IBM Plex Sans" charset="0"/>
              </a:defRPr>
            </a:lvl2pPr>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latin typeface="IBM Plex Sans" charset="0"/>
                <a:ea typeface="IBM Plex Sans" charset="0"/>
                <a:cs typeface="IBM Plex Sans" charset="0"/>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309563" y="6118860"/>
            <a:ext cx="4488656" cy="381000"/>
          </a:xfrm>
        </p:spPr>
        <p:txBody>
          <a:bodyPr tIns="0" anchor="b"/>
          <a:lstStyle>
            <a:lvl1pPr>
              <a:defRPr sz="600" b="0">
                <a:solidFill>
                  <a:schemeClr val="bg2">
                    <a:alpha val="70000"/>
                  </a:schemeClr>
                </a:solidFill>
                <a:latin typeface="IBM Plex Sans" charset="0"/>
                <a:ea typeface="IBM Plex Sans" charset="0"/>
                <a:cs typeface="IBM Plex Sans" charset="0"/>
              </a:defRPr>
            </a:lvl1pPr>
            <a:lvl2pPr>
              <a:defRPr sz="700"/>
            </a:lvl2pPr>
            <a:lvl3pPr>
              <a:defRPr sz="700"/>
            </a:lvl3pPr>
            <a:lvl4pPr>
              <a:defRPr sz="700"/>
            </a:lvl4pPr>
            <a:lvl5pPr>
              <a:defRPr sz="700"/>
            </a:lvl5pPr>
          </a:lstStyle>
          <a:p>
            <a:pPr lvl="0"/>
            <a:r>
              <a:rPr lang="en-US" dirty="0"/>
              <a:t>Source: Edit source here</a:t>
            </a:r>
          </a:p>
        </p:txBody>
      </p:sp>
      <p:sp>
        <p:nvSpPr>
          <p:cNvPr id="16"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spTree>
    <p:extLst>
      <p:ext uri="{BB962C8B-B14F-4D97-AF65-F5344CB8AC3E}">
        <p14:creationId xmlns:p14="http://schemas.microsoft.com/office/powerpoint/2010/main" val="24801874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9562" y="571500"/>
            <a:ext cx="8358188" cy="9525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2012156" cy="4381500"/>
          </a:xfrm>
        </p:spPr>
        <p:txBody>
          <a:bodyPr tIns="167632">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4953000" y="1714500"/>
            <a:ext cx="2321719" cy="4381500"/>
          </a:xfrm>
        </p:spPr>
        <p:txBody>
          <a:bodyPr tIns="167632">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2476500" y="1714500"/>
            <a:ext cx="2321719" cy="4381500"/>
          </a:xfrm>
        </p:spPr>
        <p:txBody>
          <a:bodyPr tIns="167632">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7429500" y="1714500"/>
            <a:ext cx="2321719" cy="4381500"/>
          </a:xfrm>
        </p:spPr>
        <p:txBody>
          <a:bodyPr tIns="167632">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23"/>
          <p:cNvSpPr>
            <a:spLocks noGrp="1"/>
          </p:cNvSpPr>
          <p:nvPr>
            <p:ph type="body" sz="quarter" idx="14" hasCustomPrompt="1"/>
          </p:nvPr>
        </p:nvSpPr>
        <p:spPr>
          <a:xfrm>
            <a:off x="309563" y="6118860"/>
            <a:ext cx="4488656" cy="381000"/>
          </a:xfrm>
        </p:spPr>
        <p:txBody>
          <a:bodyPr tIns="0" anchor="b"/>
          <a:lstStyle>
            <a:lvl1pPr>
              <a:defRPr sz="600" b="0">
                <a:solidFill>
                  <a:schemeClr val="bg2">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
        <p:nvSpPr>
          <p:cNvPr id="18"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spTree>
    <p:extLst>
      <p:ext uri="{BB962C8B-B14F-4D97-AF65-F5344CB8AC3E}">
        <p14:creationId xmlns:p14="http://schemas.microsoft.com/office/powerpoint/2010/main" val="29392945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9563" y="1714500"/>
            <a:ext cx="2012156" cy="3048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
        <p:nvSpPr>
          <p:cNvPr id="5" name="Text Placeholder 4"/>
          <p:cNvSpPr>
            <a:spLocks noGrp="1"/>
          </p:cNvSpPr>
          <p:nvPr>
            <p:ph type="body" sz="quarter" idx="11"/>
          </p:nvPr>
        </p:nvSpPr>
        <p:spPr>
          <a:xfrm>
            <a:off x="309563" y="220980"/>
            <a:ext cx="2012156" cy="6858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212954" y="6515113"/>
            <a:ext cx="383309" cy="190501"/>
          </a:xfrm>
          <a:prstGeom prst="rect">
            <a:avLst/>
          </a:prstGeom>
        </p:spPr>
      </p:pic>
      <p:sp>
        <p:nvSpPr>
          <p:cNvPr id="9" name="Content Placeholder 2"/>
          <p:cNvSpPr>
            <a:spLocks noGrp="1"/>
          </p:cNvSpPr>
          <p:nvPr>
            <p:ph idx="10"/>
          </p:nvPr>
        </p:nvSpPr>
        <p:spPr>
          <a:xfrm>
            <a:off x="4953000" y="1714500"/>
            <a:ext cx="2321719" cy="4381500"/>
          </a:xfrm>
        </p:spPr>
        <p:txBody>
          <a:bodyPr tIns="0">
            <a:noAutofit/>
          </a:bodyPr>
          <a:lstStyle>
            <a:lvl1pPr>
              <a:defRPr>
                <a:solidFill>
                  <a:schemeClr val="bg2"/>
                </a:solidFill>
                <a:latin typeface="IBM Plex Sans" charset="0"/>
                <a:ea typeface="IBM Plex Sans" charset="0"/>
                <a:cs typeface="IBM Plex Sans" charset="0"/>
              </a:defRPr>
            </a:lvl1pPr>
            <a:lvl2pPr>
              <a:defRPr>
                <a:solidFill>
                  <a:schemeClr val="bg2"/>
                </a:solidFill>
                <a:latin typeface="IBM Plex Sans" charset="0"/>
                <a:ea typeface="IBM Plex Sans" charset="0"/>
                <a:cs typeface="IBM Plex Sans" charset="0"/>
              </a:defRPr>
            </a:lvl2pPr>
            <a:lvl3pPr>
              <a:defRPr>
                <a:solidFill>
                  <a:schemeClr val="bg2"/>
                </a:solidFill>
                <a:latin typeface="IBM Plex Sans" charset="0"/>
                <a:ea typeface="IBM Plex Sans" charset="0"/>
                <a:cs typeface="IBM Plex Sans" charset="0"/>
              </a:defRPr>
            </a:lvl3pPr>
            <a:lvl4pPr>
              <a:defRPr>
                <a:solidFill>
                  <a:schemeClr val="bg2"/>
                </a:solidFill>
                <a:latin typeface="IBM Plex Sans" charset="0"/>
                <a:ea typeface="IBM Plex Sans" charset="0"/>
                <a:cs typeface="IBM Plex Sans" charset="0"/>
              </a:defRPr>
            </a:lvl4pPr>
            <a:lvl5pPr>
              <a:defRPr>
                <a:solidFill>
                  <a:schemeClr val="bg2"/>
                </a:solidFill>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2631281" y="1714500"/>
            <a:ext cx="2166938" cy="4381500"/>
          </a:xfrm>
        </p:spPr>
        <p:txBody>
          <a:bodyPr tIns="0">
            <a:noAutofit/>
          </a:bodyPr>
          <a:lstStyle>
            <a:lvl1pPr>
              <a:defRPr>
                <a:solidFill>
                  <a:schemeClr val="bg2"/>
                </a:solidFill>
                <a:latin typeface="IBM Plex Sans" charset="0"/>
                <a:ea typeface="IBM Plex Sans" charset="0"/>
                <a:cs typeface="IBM Plex Sans" charset="0"/>
              </a:defRPr>
            </a:lvl1pPr>
            <a:lvl2pPr>
              <a:defRPr>
                <a:solidFill>
                  <a:schemeClr val="bg2"/>
                </a:solidFill>
                <a:latin typeface="IBM Plex Sans" charset="0"/>
                <a:ea typeface="IBM Plex Sans" charset="0"/>
                <a:cs typeface="IBM Plex Sans" charset="0"/>
              </a:defRPr>
            </a:lvl2pPr>
            <a:lvl3pPr>
              <a:defRPr>
                <a:solidFill>
                  <a:schemeClr val="bg2"/>
                </a:solidFill>
                <a:latin typeface="IBM Plex Sans" charset="0"/>
                <a:ea typeface="IBM Plex Sans" charset="0"/>
                <a:cs typeface="IBM Plex Sans" charset="0"/>
              </a:defRPr>
            </a:lvl3pPr>
            <a:lvl4pPr>
              <a:defRPr>
                <a:solidFill>
                  <a:schemeClr val="bg2"/>
                </a:solidFill>
                <a:latin typeface="IBM Plex Sans" charset="0"/>
                <a:ea typeface="IBM Plex Sans" charset="0"/>
                <a:cs typeface="IBM Plex Sans" charset="0"/>
              </a:defRPr>
            </a:lvl4pPr>
            <a:lvl5pPr>
              <a:defRPr>
                <a:solidFill>
                  <a:schemeClr val="bg2"/>
                </a:solidFill>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7429500" y="1714500"/>
            <a:ext cx="2321719" cy="4381500"/>
          </a:xfrm>
        </p:spPr>
        <p:txBody>
          <a:bodyPr tIns="0">
            <a:noAutofit/>
          </a:bodyPr>
          <a:lstStyle>
            <a:lvl1pPr>
              <a:defRPr>
                <a:solidFill>
                  <a:schemeClr val="bg2"/>
                </a:solidFill>
                <a:latin typeface="IBM Plex Sans" charset="0"/>
                <a:ea typeface="IBM Plex Sans" charset="0"/>
                <a:cs typeface="IBM Plex Sans" charset="0"/>
              </a:defRPr>
            </a:lvl1pPr>
            <a:lvl2pPr>
              <a:defRPr>
                <a:solidFill>
                  <a:schemeClr val="bg2"/>
                </a:solidFill>
                <a:latin typeface="IBM Plex Sans" charset="0"/>
                <a:ea typeface="IBM Plex Sans" charset="0"/>
                <a:cs typeface="IBM Plex Sans" charset="0"/>
              </a:defRPr>
            </a:lvl2pPr>
            <a:lvl3pPr>
              <a:defRPr>
                <a:solidFill>
                  <a:schemeClr val="bg2"/>
                </a:solidFill>
                <a:latin typeface="IBM Plex Sans" charset="0"/>
                <a:ea typeface="IBM Plex Sans" charset="0"/>
                <a:cs typeface="IBM Plex Sans" charset="0"/>
              </a:defRPr>
            </a:lvl3pPr>
            <a:lvl4pPr>
              <a:defRPr>
                <a:solidFill>
                  <a:schemeClr val="bg2"/>
                </a:solidFill>
                <a:latin typeface="IBM Plex Sans" charset="0"/>
                <a:ea typeface="IBM Plex Sans" charset="0"/>
                <a:cs typeface="IBM Plex Sans" charset="0"/>
              </a:defRPr>
            </a:lvl4pPr>
            <a:lvl5pPr>
              <a:defRPr>
                <a:solidFill>
                  <a:schemeClr val="bg2"/>
                </a:solidFill>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212953" y="6515113"/>
            <a:ext cx="383309" cy="190501"/>
          </a:xfrm>
          <a:prstGeom prst="rect">
            <a:avLst/>
          </a:prstGeom>
        </p:spPr>
      </p:pic>
      <p:sp>
        <p:nvSpPr>
          <p:cNvPr id="16" name="Text Placeholder 23"/>
          <p:cNvSpPr>
            <a:spLocks noGrp="1"/>
          </p:cNvSpPr>
          <p:nvPr>
            <p:ph type="body" sz="quarter" idx="14" hasCustomPrompt="1"/>
          </p:nvPr>
        </p:nvSpPr>
        <p:spPr>
          <a:xfrm>
            <a:off x="309563" y="6096000"/>
            <a:ext cx="2228850" cy="403860"/>
          </a:xfrm>
        </p:spPr>
        <p:txBody>
          <a:bodyPr tIns="0" anchor="b"/>
          <a:lstStyle>
            <a:lvl1pPr>
              <a:defRPr sz="600" b="0">
                <a:solidFill>
                  <a:schemeClr val="bg2">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Tree>
    <p:extLst>
      <p:ext uri="{BB962C8B-B14F-4D97-AF65-F5344CB8AC3E}">
        <p14:creationId xmlns:p14="http://schemas.microsoft.com/office/powerpoint/2010/main" val="571646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2_Title and Conten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9562" y="571500"/>
            <a:ext cx="8358188" cy="9525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4488656" cy="4381500"/>
          </a:xfrm>
        </p:spPr>
        <p:txBody>
          <a:bodyPr>
            <a:noAutofit/>
          </a:bodyPr>
          <a:lstStyle>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4953000" y="1714500"/>
            <a:ext cx="4643438" cy="4381500"/>
          </a:xfrm>
        </p:spPr>
        <p:txBody>
          <a:bodyPr>
            <a:noAutofit/>
          </a:bodyPr>
          <a:lstStyle>
            <a:lvl1pPr>
              <a:defRPr>
                <a:latin typeface="IBM Plex Sans" charset="0"/>
                <a:ea typeface="IBM Plex Sans" charset="0"/>
                <a:cs typeface="IBM Plex Sans" charset="0"/>
              </a:defRPr>
            </a:lvl1pPr>
            <a:lvl2pPr>
              <a:defRPr>
                <a:latin typeface="IBM Plex Sans" charset="0"/>
                <a:ea typeface="IBM Plex Sans" charset="0"/>
                <a:cs typeface="IBM Plex Sans" charset="0"/>
              </a:defRPr>
            </a:lvl2pPr>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15" name="Text Placeholder 23"/>
          <p:cNvSpPr>
            <a:spLocks noGrp="1"/>
          </p:cNvSpPr>
          <p:nvPr>
            <p:ph type="body" sz="quarter" idx="12" hasCustomPrompt="1"/>
          </p:nvPr>
        </p:nvSpPr>
        <p:spPr>
          <a:xfrm>
            <a:off x="309563" y="6118860"/>
            <a:ext cx="4488656" cy="381000"/>
          </a:xfrm>
        </p:spPr>
        <p:txBody>
          <a:bodyPr tIns="0" anchor="b"/>
          <a:lstStyle>
            <a:lvl1pPr>
              <a:defRPr sz="600" b="0">
                <a:solidFill>
                  <a:schemeClr val="bg2">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
        <p:nvSpPr>
          <p:cNvPr id="17"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spTree>
    <p:extLst>
      <p:ext uri="{BB962C8B-B14F-4D97-AF65-F5344CB8AC3E}">
        <p14:creationId xmlns:p14="http://schemas.microsoft.com/office/powerpoint/2010/main" val="29702400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4_Title and Conten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9562" y="571500"/>
            <a:ext cx="8358188" cy="9525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2012156" cy="4381500"/>
          </a:xfrm>
        </p:spPr>
        <p:txBody>
          <a:bodyPr tIns="167632">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4953000" y="1714500"/>
            <a:ext cx="2321719" cy="4381500"/>
          </a:xfrm>
        </p:spPr>
        <p:txBody>
          <a:bodyPr tIns="167632">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2476500" y="1714500"/>
            <a:ext cx="2321719" cy="4381500"/>
          </a:xfrm>
        </p:spPr>
        <p:txBody>
          <a:bodyPr tIns="167632">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7429500" y="1714500"/>
            <a:ext cx="2321719" cy="4381500"/>
          </a:xfrm>
        </p:spPr>
        <p:txBody>
          <a:bodyPr tIns="167632">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3"/>
          <p:cNvSpPr>
            <a:spLocks noGrp="1"/>
          </p:cNvSpPr>
          <p:nvPr>
            <p:ph type="body" sz="quarter" idx="14" hasCustomPrompt="1"/>
          </p:nvPr>
        </p:nvSpPr>
        <p:spPr>
          <a:xfrm>
            <a:off x="309563" y="6118860"/>
            <a:ext cx="4488656" cy="381000"/>
          </a:xfrm>
        </p:spPr>
        <p:txBody>
          <a:bodyPr tIns="0" anchor="b"/>
          <a:lstStyle>
            <a:lvl1pPr>
              <a:defRPr sz="600" b="0">
                <a:solidFill>
                  <a:schemeClr val="bg2">
                    <a:alpha val="70000"/>
                  </a:schemeClr>
                </a:solidFill>
                <a:latin typeface="IBM Plex Sans" charset="0"/>
                <a:ea typeface="IBM Plex Sans" charset="0"/>
                <a:cs typeface="IBM Plex Sans" charset="0"/>
              </a:defRPr>
            </a:lvl1pPr>
            <a:lvl2pPr>
              <a:defRPr sz="700"/>
            </a:lvl2pPr>
            <a:lvl3pPr>
              <a:defRPr sz="700"/>
            </a:lvl3pPr>
            <a:lvl4pPr>
              <a:defRPr sz="700"/>
            </a:lvl4pPr>
            <a:lvl5pPr>
              <a:defRPr sz="700"/>
            </a:lvl5pPr>
          </a:lstStyle>
          <a:p>
            <a:pPr lvl="0"/>
            <a:r>
              <a:rPr lang="en-US" dirty="0"/>
              <a:t>Source: Edit source here</a:t>
            </a:r>
          </a:p>
        </p:txBody>
      </p:sp>
      <p:sp>
        <p:nvSpPr>
          <p:cNvPr id="22"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spTree>
    <p:extLst>
      <p:ext uri="{BB962C8B-B14F-4D97-AF65-F5344CB8AC3E}">
        <p14:creationId xmlns:p14="http://schemas.microsoft.com/office/powerpoint/2010/main" val="25560173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2-2_Title and Content">
    <p:bg>
      <p:bgPr>
        <a:solidFill>
          <a:schemeClr val="tx1"/>
        </a:solidFill>
        <a:effectLst/>
      </p:bgPr>
    </p:bg>
    <p:spTree>
      <p:nvGrpSpPr>
        <p:cNvPr id="1" name=""/>
        <p:cNvGrpSpPr/>
        <p:nvPr/>
      </p:nvGrpSpPr>
      <p:grpSpPr>
        <a:xfrm>
          <a:off x="0" y="0"/>
          <a:ext cx="0" cy="0"/>
          <a:chOff x="0" y="0"/>
          <a:chExt cx="0" cy="0"/>
        </a:xfrm>
      </p:grpSpPr>
      <p:sp>
        <p:nvSpPr>
          <p:cNvPr id="6" name="Rectangle 5"/>
          <p:cNvSpPr/>
          <p:nvPr userDrawn="1"/>
        </p:nvSpPr>
        <p:spPr>
          <a:xfrm>
            <a:off x="0" y="1714500"/>
            <a:ext cx="9906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00E5E"/>
              </a:solidFill>
              <a:latin typeface="Arial Regular" charset="0"/>
            </a:endParaRPr>
          </a:p>
        </p:txBody>
      </p:sp>
      <p:sp>
        <p:nvSpPr>
          <p:cNvPr id="2" name="Title 1"/>
          <p:cNvSpPr>
            <a:spLocks noGrp="1"/>
          </p:cNvSpPr>
          <p:nvPr>
            <p:ph type="title" hasCustomPrompt="1"/>
          </p:nvPr>
        </p:nvSpPr>
        <p:spPr>
          <a:xfrm>
            <a:off x="309562" y="571500"/>
            <a:ext cx="8358188" cy="9525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4488656" cy="4381500"/>
          </a:xfrm>
        </p:spPr>
        <p:txBody>
          <a:bodyPr>
            <a:noAutofit/>
          </a:bodyPr>
          <a:lstStyle>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4953000" y="1714500"/>
            <a:ext cx="4643438" cy="4381500"/>
          </a:xfrm>
        </p:spPr>
        <p:txBody>
          <a:bodyPr>
            <a:noAutofit/>
          </a:bodyPr>
          <a:lstStyle>
            <a:lvl1pPr>
              <a:defRPr>
                <a:latin typeface="IBM Plex Sans" charset="0"/>
                <a:ea typeface="IBM Plex Sans" charset="0"/>
                <a:cs typeface="IBM Plex Sans" charset="0"/>
              </a:defRPr>
            </a:lvl1pPr>
            <a:lvl2pPr>
              <a:defRPr>
                <a:latin typeface="IBM Plex Sans" charset="0"/>
                <a:ea typeface="IBM Plex Sans" charset="0"/>
                <a:cs typeface="IBM Plex Sans" charset="0"/>
              </a:defRPr>
            </a:lvl2pPr>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15" name="Text Placeholder 23"/>
          <p:cNvSpPr>
            <a:spLocks noGrp="1"/>
          </p:cNvSpPr>
          <p:nvPr>
            <p:ph type="body" sz="quarter" idx="12" hasCustomPrompt="1"/>
          </p:nvPr>
        </p:nvSpPr>
        <p:spPr>
          <a:xfrm>
            <a:off x="309563" y="6118860"/>
            <a:ext cx="4488656" cy="381000"/>
          </a:xfrm>
        </p:spPr>
        <p:txBody>
          <a:bodyPr tIns="0" anchor="b"/>
          <a:lstStyle>
            <a:lvl1pPr>
              <a:defRPr sz="600" b="0">
                <a:solidFill>
                  <a:schemeClr val="bg2">
                    <a:alpha val="70000"/>
                  </a:schemeClr>
                </a:solidFill>
              </a:defRPr>
            </a:lvl1pPr>
            <a:lvl2pPr>
              <a:defRPr sz="700"/>
            </a:lvl2pPr>
            <a:lvl3pPr>
              <a:defRPr sz="700"/>
            </a:lvl3pPr>
            <a:lvl4pPr>
              <a:defRPr sz="700"/>
            </a:lvl4pPr>
            <a:lvl5pPr>
              <a:defRPr sz="700"/>
            </a:lvl5pPr>
          </a:lstStyle>
          <a:p>
            <a:pPr lvl="0"/>
            <a:r>
              <a:rPr lang="en-US" dirty="0"/>
              <a:t>Source: Edit source here</a:t>
            </a:r>
          </a:p>
        </p:txBody>
      </p:sp>
      <p:grpSp>
        <p:nvGrpSpPr>
          <p:cNvPr id="12" name="Group 11"/>
          <p:cNvGrpSpPr/>
          <p:nvPr userDrawn="1"/>
        </p:nvGrpSpPr>
        <p:grpSpPr>
          <a:xfrm>
            <a:off x="619125" y="6583046"/>
            <a:ext cx="1837164" cy="183809"/>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a:t>
              </a:r>
              <a:r>
                <a:rPr lang="en-US" sz="300" b="0" dirty="0">
                  <a:solidFill>
                    <a:srgbClr val="FFFFFF">
                      <a:alpha val="60000"/>
                    </a:srgbClr>
                  </a:solidFill>
                  <a:latin typeface="IBM Plex Sans" charset="0"/>
                  <a:ea typeface="IBM Plex Sans" charset="0"/>
                  <a:cs typeface="IBM Plex Sans" charset="0"/>
                </a:rPr>
                <a:t> </a:t>
              </a:r>
              <a:r>
                <a:rPr lang="en-US" sz="600" b="0" dirty="0">
                  <a:solidFill>
                    <a:srgbClr val="FFFFFF">
                      <a:alpha val="60000"/>
                    </a:srgbClr>
                  </a:solidFill>
                  <a:latin typeface="IBM Plex Sans" charset="0"/>
                  <a:ea typeface="IBM Plex Sans" charset="0"/>
                  <a:cs typeface="IBM Plex Sans" charset="0"/>
                </a:rPr>
                <a:t>2019 IBM Corporation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FFFFFF">
                      <a:alpha val="60000"/>
                    </a:srgbClr>
                  </a:solidFill>
                  <a:latin typeface="IBM Plex Sans" charset="0"/>
                  <a:ea typeface="IBM Plex Sans" charset="0"/>
                  <a:cs typeface="IBM Plex Sans" charset="0"/>
                </a:rPr>
                <a:t> </a:t>
              </a:r>
              <a:fld id="{7C9968D1-C8E5-4FE3-AED4-7D4518C301B3}" type="datetime3">
                <a:rPr lang="en-US" sz="600" b="0" smtClean="0">
                  <a:solidFill>
                    <a:srgbClr val="FFFFFF">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FFFFFF">
                    <a:alpha val="60000"/>
                  </a:srgbClr>
                </a:solidFill>
                <a:latin typeface="IBM Plex Sans" charset="0"/>
                <a:ea typeface="IBM Plex Sans" charset="0"/>
                <a:cs typeface="IBM Plex Sans" charset="0"/>
              </a:endParaRPr>
            </a:p>
          </p:txBody>
        </p:sp>
      </p:grpSp>
      <p:sp>
        <p:nvSpPr>
          <p:cNvPr id="17"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pic>
        <p:nvPicPr>
          <p:cNvPr id="18" name="Picture 1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212946" y="6515120"/>
            <a:ext cx="383309" cy="190501"/>
          </a:xfrm>
          <a:prstGeom prst="rect">
            <a:avLst/>
          </a:prstGeom>
        </p:spPr>
      </p:pic>
      <p:sp>
        <p:nvSpPr>
          <p:cNvPr id="19" name="Footer Placeholder 3"/>
          <p:cNvSpPr txBox="1">
            <a:spLocks/>
          </p:cNvSpPr>
          <p:nvPr userDrawn="1"/>
        </p:nvSpPr>
        <p:spPr>
          <a:xfrm>
            <a:off x="2631281" y="6583680"/>
            <a:ext cx="2693194"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IBM Industry Academy | IBM Institute for Business Value | IBM Research</a:t>
            </a:r>
          </a:p>
        </p:txBody>
      </p:sp>
    </p:spTree>
    <p:extLst>
      <p:ext uri="{BB962C8B-B14F-4D97-AF65-F5344CB8AC3E}">
        <p14:creationId xmlns:p14="http://schemas.microsoft.com/office/powerpoint/2010/main" val="34553494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2-4_Title and Content">
    <p:bg>
      <p:bgPr>
        <a:solidFill>
          <a:schemeClr val="tx1"/>
        </a:solidFill>
        <a:effectLst/>
      </p:bgPr>
    </p:bg>
    <p:spTree>
      <p:nvGrpSpPr>
        <p:cNvPr id="1" name=""/>
        <p:cNvGrpSpPr/>
        <p:nvPr/>
      </p:nvGrpSpPr>
      <p:grpSpPr>
        <a:xfrm>
          <a:off x="0" y="0"/>
          <a:ext cx="0" cy="0"/>
          <a:chOff x="0" y="0"/>
          <a:chExt cx="0" cy="0"/>
        </a:xfrm>
      </p:grpSpPr>
      <p:sp>
        <p:nvSpPr>
          <p:cNvPr id="10" name="Rectangle 9"/>
          <p:cNvSpPr/>
          <p:nvPr userDrawn="1"/>
        </p:nvSpPr>
        <p:spPr>
          <a:xfrm>
            <a:off x="0" y="1714500"/>
            <a:ext cx="9906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00E5E"/>
              </a:solidFill>
              <a:latin typeface="Arial Regular" charset="0"/>
            </a:endParaRPr>
          </a:p>
        </p:txBody>
      </p:sp>
      <p:sp>
        <p:nvSpPr>
          <p:cNvPr id="2" name="Title 1"/>
          <p:cNvSpPr>
            <a:spLocks noGrp="1"/>
          </p:cNvSpPr>
          <p:nvPr>
            <p:ph type="title" hasCustomPrompt="1"/>
          </p:nvPr>
        </p:nvSpPr>
        <p:spPr>
          <a:xfrm>
            <a:off x="309562" y="571500"/>
            <a:ext cx="8358188" cy="9525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2012156" cy="4381500"/>
          </a:xfrm>
        </p:spPr>
        <p:txBody>
          <a:bodyPr tIns="167632">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4953000" y="1714500"/>
            <a:ext cx="2321719" cy="4381500"/>
          </a:xfrm>
        </p:spPr>
        <p:txBody>
          <a:bodyPr tIns="167632">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2476500" y="1714500"/>
            <a:ext cx="2321719" cy="4381500"/>
          </a:xfrm>
        </p:spPr>
        <p:txBody>
          <a:bodyPr tIns="167632">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7429500" y="1714500"/>
            <a:ext cx="2321719" cy="4381500"/>
          </a:xfrm>
        </p:spPr>
        <p:txBody>
          <a:bodyPr tIns="167632">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3"/>
          <p:cNvSpPr>
            <a:spLocks noGrp="1"/>
          </p:cNvSpPr>
          <p:nvPr>
            <p:ph type="body" sz="quarter" idx="14" hasCustomPrompt="1"/>
          </p:nvPr>
        </p:nvSpPr>
        <p:spPr>
          <a:xfrm>
            <a:off x="309563" y="6118860"/>
            <a:ext cx="4488656" cy="381000"/>
          </a:xfrm>
        </p:spPr>
        <p:txBody>
          <a:bodyPr tIns="0" anchor="b"/>
          <a:lstStyle>
            <a:lvl1pPr>
              <a:defRPr sz="600" b="0">
                <a:solidFill>
                  <a:schemeClr val="bg2">
                    <a:alpha val="70000"/>
                  </a:schemeClr>
                </a:solidFill>
                <a:latin typeface="IBM Plex Sans" charset="0"/>
                <a:ea typeface="IBM Plex Sans" charset="0"/>
                <a:cs typeface="IBM Plex Sans" charset="0"/>
              </a:defRPr>
            </a:lvl1pPr>
            <a:lvl2pPr>
              <a:defRPr sz="700"/>
            </a:lvl2pPr>
            <a:lvl3pPr>
              <a:defRPr sz="700"/>
            </a:lvl3pPr>
            <a:lvl4pPr>
              <a:defRPr sz="700"/>
            </a:lvl4pPr>
            <a:lvl5pPr>
              <a:defRPr sz="700"/>
            </a:lvl5pPr>
          </a:lstStyle>
          <a:p>
            <a:pPr lvl="0"/>
            <a:r>
              <a:rPr lang="en-US" dirty="0"/>
              <a:t>Source: Edit source here</a:t>
            </a:r>
          </a:p>
        </p:txBody>
      </p:sp>
      <p:grpSp>
        <p:nvGrpSpPr>
          <p:cNvPr id="14" name="Group 13"/>
          <p:cNvGrpSpPr/>
          <p:nvPr userDrawn="1"/>
        </p:nvGrpSpPr>
        <p:grpSpPr>
          <a:xfrm>
            <a:off x="619125" y="6583046"/>
            <a:ext cx="1837164" cy="183809"/>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a:t>
              </a:r>
              <a:r>
                <a:rPr lang="en-US" sz="300" b="0" dirty="0">
                  <a:solidFill>
                    <a:srgbClr val="FFFFFF">
                      <a:alpha val="60000"/>
                    </a:srgbClr>
                  </a:solidFill>
                  <a:latin typeface="IBM Plex Sans" charset="0"/>
                  <a:ea typeface="IBM Plex Sans" charset="0"/>
                  <a:cs typeface="IBM Plex Sans" charset="0"/>
                </a:rPr>
                <a:t> </a:t>
              </a:r>
              <a:r>
                <a:rPr lang="en-US" sz="600" b="0" dirty="0">
                  <a:solidFill>
                    <a:srgbClr val="FFFFFF">
                      <a:alpha val="60000"/>
                    </a:srgbClr>
                  </a:solidFill>
                  <a:latin typeface="IBM Plex Sans" charset="0"/>
                  <a:ea typeface="IBM Plex Sans" charset="0"/>
                  <a:cs typeface="IBM Plex Sans" charset="0"/>
                </a:rPr>
                <a:t>2019 IBM Corporation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FFFFFF">
                      <a:alpha val="60000"/>
                    </a:srgbClr>
                  </a:solidFill>
                  <a:latin typeface="IBM Plex Sans" charset="0"/>
                  <a:ea typeface="IBM Plex Sans" charset="0"/>
                  <a:cs typeface="IBM Plex Sans" charset="0"/>
                </a:rPr>
                <a:t> </a:t>
              </a:r>
              <a:fld id="{7C9968D1-C8E5-4FE3-AED4-7D4518C301B3}" type="datetime3">
                <a:rPr lang="en-US" sz="600" b="0" smtClean="0">
                  <a:solidFill>
                    <a:srgbClr val="FFFFFF">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FFFFFF">
                    <a:alpha val="60000"/>
                  </a:srgbClr>
                </a:solidFill>
                <a:latin typeface="IBM Plex Sans" charset="0"/>
                <a:ea typeface="IBM Plex Sans" charset="0"/>
                <a:cs typeface="IBM Plex Sans" charset="0"/>
              </a:endParaRPr>
            </a:p>
          </p:txBody>
        </p:sp>
      </p:grpSp>
      <p:sp>
        <p:nvSpPr>
          <p:cNvPr id="22"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sp>
        <p:nvSpPr>
          <p:cNvPr id="23" name="Footer Placeholder 3"/>
          <p:cNvSpPr txBox="1">
            <a:spLocks/>
          </p:cNvSpPr>
          <p:nvPr userDrawn="1"/>
        </p:nvSpPr>
        <p:spPr>
          <a:xfrm>
            <a:off x="2631281" y="6583680"/>
            <a:ext cx="2693194"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IBM Industry Academy | IBM Institute for Business Value | IBM Research</a:t>
            </a:r>
          </a:p>
        </p:txBody>
      </p:sp>
    </p:spTree>
    <p:extLst>
      <p:ext uri="{BB962C8B-B14F-4D97-AF65-F5344CB8AC3E}">
        <p14:creationId xmlns:p14="http://schemas.microsoft.com/office/powerpoint/2010/main" val="6813839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4" name="Rectangle 3"/>
          <p:cNvSpPr/>
          <p:nvPr userDrawn="1"/>
        </p:nvSpPr>
        <p:spPr>
          <a:xfrm>
            <a:off x="2476500" y="0"/>
            <a:ext cx="74295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00E5E"/>
              </a:solidFill>
              <a:latin typeface="Arial Regular" charset="0"/>
            </a:endParaRPr>
          </a:p>
        </p:txBody>
      </p:sp>
      <p:sp>
        <p:nvSpPr>
          <p:cNvPr id="2" name="Title 1"/>
          <p:cNvSpPr>
            <a:spLocks noGrp="1"/>
          </p:cNvSpPr>
          <p:nvPr>
            <p:ph type="title"/>
          </p:nvPr>
        </p:nvSpPr>
        <p:spPr>
          <a:xfrm>
            <a:off x="309563" y="1714500"/>
            <a:ext cx="2012156" cy="3048000"/>
          </a:xfrm>
        </p:spPr>
        <p:txBody>
          <a:bodyPr>
            <a:noAutofit/>
          </a:bodyPr>
          <a:lstStyle/>
          <a:p>
            <a:r>
              <a:rPr lang="en-US" dirty="0"/>
              <a:t>Click to edit Master title style</a:t>
            </a:r>
          </a:p>
        </p:txBody>
      </p:sp>
      <p:sp>
        <p:nvSpPr>
          <p:cNvPr id="5" name="Text Placeholder 4"/>
          <p:cNvSpPr>
            <a:spLocks noGrp="1"/>
          </p:cNvSpPr>
          <p:nvPr>
            <p:ph type="body" sz="quarter" idx="11"/>
          </p:nvPr>
        </p:nvSpPr>
        <p:spPr>
          <a:xfrm>
            <a:off x="309563" y="220980"/>
            <a:ext cx="2012156" cy="6858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9" name="Content Placeholder 2"/>
          <p:cNvSpPr>
            <a:spLocks noGrp="1"/>
          </p:cNvSpPr>
          <p:nvPr>
            <p:ph idx="10"/>
          </p:nvPr>
        </p:nvSpPr>
        <p:spPr>
          <a:xfrm>
            <a:off x="4953000" y="1714500"/>
            <a:ext cx="2321719" cy="4381500"/>
          </a:xfrm>
        </p:spPr>
        <p:txBody>
          <a:bodyPr tIns="0">
            <a:noAutofit/>
          </a:bodyPr>
          <a:lstStyle>
            <a:lvl1pPr>
              <a:defRPr>
                <a:solidFill>
                  <a:schemeClr val="bg2"/>
                </a:solidFill>
                <a:latin typeface="IBM Plex Sans" charset="0"/>
                <a:ea typeface="IBM Plex Sans" charset="0"/>
                <a:cs typeface="IBM Plex Sans" charset="0"/>
              </a:defRPr>
            </a:lvl1pPr>
            <a:lvl2pPr>
              <a:defRPr>
                <a:solidFill>
                  <a:schemeClr val="bg2"/>
                </a:solidFill>
                <a:latin typeface="IBM Plex Sans" charset="0"/>
                <a:ea typeface="IBM Plex Sans" charset="0"/>
                <a:cs typeface="IBM Plex Sans" charset="0"/>
              </a:defRPr>
            </a:lvl2pPr>
            <a:lvl3pPr>
              <a:defRPr>
                <a:solidFill>
                  <a:schemeClr val="bg2"/>
                </a:solidFill>
                <a:latin typeface="IBM Plex Sans" charset="0"/>
                <a:ea typeface="IBM Plex Sans" charset="0"/>
                <a:cs typeface="IBM Plex Sans" charset="0"/>
              </a:defRPr>
            </a:lvl3pPr>
            <a:lvl4pPr>
              <a:defRPr>
                <a:solidFill>
                  <a:schemeClr val="bg2"/>
                </a:solidFill>
                <a:latin typeface="IBM Plex Sans" charset="0"/>
                <a:ea typeface="IBM Plex Sans" charset="0"/>
                <a:cs typeface="IBM Plex Sans" charset="0"/>
              </a:defRPr>
            </a:lvl4pPr>
            <a:lvl5pPr>
              <a:defRPr>
                <a:solidFill>
                  <a:schemeClr val="bg2"/>
                </a:solidFill>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2631281" y="1714500"/>
            <a:ext cx="2166938" cy="4381500"/>
          </a:xfrm>
        </p:spPr>
        <p:txBody>
          <a:bodyPr tIns="0">
            <a:noAutofit/>
          </a:bodyPr>
          <a:lstStyle>
            <a:lvl1pPr>
              <a:defRPr>
                <a:solidFill>
                  <a:schemeClr val="bg2"/>
                </a:solidFill>
                <a:latin typeface="IBM Plex Sans" charset="0"/>
                <a:ea typeface="IBM Plex Sans" charset="0"/>
                <a:cs typeface="IBM Plex Sans" charset="0"/>
              </a:defRPr>
            </a:lvl1pPr>
            <a:lvl2pPr>
              <a:defRPr>
                <a:solidFill>
                  <a:schemeClr val="bg2"/>
                </a:solidFill>
                <a:latin typeface="IBM Plex Sans" charset="0"/>
                <a:ea typeface="IBM Plex Sans" charset="0"/>
                <a:cs typeface="IBM Plex Sans" charset="0"/>
              </a:defRPr>
            </a:lvl2pPr>
            <a:lvl3pPr>
              <a:defRPr>
                <a:solidFill>
                  <a:schemeClr val="bg2"/>
                </a:solidFill>
                <a:latin typeface="IBM Plex Sans" charset="0"/>
                <a:ea typeface="IBM Plex Sans" charset="0"/>
                <a:cs typeface="IBM Plex Sans" charset="0"/>
              </a:defRPr>
            </a:lvl3pPr>
            <a:lvl4pPr>
              <a:defRPr>
                <a:solidFill>
                  <a:schemeClr val="bg2"/>
                </a:solidFill>
                <a:latin typeface="IBM Plex Sans" charset="0"/>
                <a:ea typeface="IBM Plex Sans" charset="0"/>
                <a:cs typeface="IBM Plex Sans" charset="0"/>
              </a:defRPr>
            </a:lvl4pPr>
            <a:lvl5pPr>
              <a:defRPr>
                <a:solidFill>
                  <a:schemeClr val="bg2"/>
                </a:solidFill>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7429500" y="1714500"/>
            <a:ext cx="2321719" cy="4381500"/>
          </a:xfrm>
        </p:spPr>
        <p:txBody>
          <a:bodyPr t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3"/>
          <p:cNvSpPr>
            <a:spLocks noGrp="1"/>
          </p:cNvSpPr>
          <p:nvPr>
            <p:ph type="body" sz="quarter" idx="14" hasCustomPrompt="1"/>
          </p:nvPr>
        </p:nvSpPr>
        <p:spPr>
          <a:xfrm>
            <a:off x="309563" y="6096000"/>
            <a:ext cx="2043113" cy="403860"/>
          </a:xfrm>
        </p:spPr>
        <p:txBody>
          <a:bodyPr tIns="0" anchor="b"/>
          <a:lstStyle>
            <a:lvl1pPr>
              <a:defRPr sz="600" b="0">
                <a:solidFill>
                  <a:schemeClr val="bg2">
                    <a:alpha val="70000"/>
                  </a:schemeClr>
                </a:solidFill>
              </a:defRPr>
            </a:lvl1pPr>
            <a:lvl2pPr>
              <a:defRPr sz="700"/>
            </a:lvl2pPr>
            <a:lvl3pPr>
              <a:defRPr sz="700"/>
            </a:lvl3pPr>
            <a:lvl4pPr>
              <a:defRPr sz="700"/>
            </a:lvl4pPr>
            <a:lvl5pPr>
              <a:defRPr sz="700"/>
            </a:lvl5pPr>
          </a:lstStyle>
          <a:p>
            <a:pPr lvl="0"/>
            <a:r>
              <a:rPr lang="en-US" dirty="0"/>
              <a:t>Source: Edit source here</a:t>
            </a:r>
          </a:p>
        </p:txBody>
      </p:sp>
      <p:pic>
        <p:nvPicPr>
          <p:cNvPr id="14" name="Picture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212953" y="6515113"/>
            <a:ext cx="383309" cy="190501"/>
          </a:xfrm>
          <a:prstGeom prst="rect">
            <a:avLst/>
          </a:prstGeom>
        </p:spPr>
      </p:pic>
      <p:sp>
        <p:nvSpPr>
          <p:cNvPr id="15" name="Footer Placeholder 3"/>
          <p:cNvSpPr txBox="1">
            <a:spLocks/>
          </p:cNvSpPr>
          <p:nvPr userDrawn="1"/>
        </p:nvSpPr>
        <p:spPr>
          <a:xfrm>
            <a:off x="2631281" y="6583680"/>
            <a:ext cx="2693194"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IBM Industry Academy | IBM Institute for Business Value | IBM Research</a:t>
            </a:r>
          </a:p>
        </p:txBody>
      </p:sp>
    </p:spTree>
    <p:extLst>
      <p:ext uri="{BB962C8B-B14F-4D97-AF65-F5344CB8AC3E}">
        <p14:creationId xmlns:p14="http://schemas.microsoft.com/office/powerpoint/2010/main" val="16469679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8958263" y="6470650"/>
            <a:ext cx="404812" cy="214313"/>
          </a:xfrm>
          <a:prstGeom prst="rect">
            <a:avLst/>
          </a:prstGeom>
          <a:noFill/>
          <a:ln>
            <a:noFill/>
          </a:ln>
        </p:spPr>
        <p:txBody>
          <a:bodyPr>
            <a:spAutoFit/>
          </a:bodyPr>
          <a:lstStyle>
            <a:lvl1pPr>
              <a:defRPr sz="1400" b="1">
                <a:solidFill>
                  <a:srgbClr val="000000"/>
                </a:solidFill>
                <a:latin typeface="Arial" pitchFamily="34" charset="0"/>
                <a:ea typeface="맑은 고딕" pitchFamily="50" charset="-127"/>
              </a:defRPr>
            </a:lvl1pPr>
            <a:lvl2pPr marL="742950" indent="-285750">
              <a:defRPr sz="1400" b="1">
                <a:solidFill>
                  <a:srgbClr val="000000"/>
                </a:solidFill>
                <a:latin typeface="Arial" pitchFamily="34" charset="0"/>
                <a:ea typeface="맑은 고딕" pitchFamily="50" charset="-127"/>
              </a:defRPr>
            </a:lvl2pPr>
            <a:lvl3pPr marL="1143000" indent="-228600">
              <a:defRPr sz="1400" b="1">
                <a:solidFill>
                  <a:srgbClr val="000000"/>
                </a:solidFill>
                <a:latin typeface="Arial" pitchFamily="34" charset="0"/>
                <a:ea typeface="맑은 고딕" pitchFamily="50" charset="-127"/>
              </a:defRPr>
            </a:lvl3pPr>
            <a:lvl4pPr marL="1600200" indent="-228600">
              <a:defRPr sz="1400" b="1">
                <a:solidFill>
                  <a:srgbClr val="000000"/>
                </a:solidFill>
                <a:latin typeface="Arial" pitchFamily="34" charset="0"/>
                <a:ea typeface="맑은 고딕" pitchFamily="50" charset="-127"/>
              </a:defRPr>
            </a:lvl4pPr>
            <a:lvl5pPr marL="2057400" indent="-228600">
              <a:defRPr sz="1400" b="1">
                <a:solidFill>
                  <a:srgbClr val="000000"/>
                </a:solidFill>
                <a:latin typeface="Arial" pitchFamily="34" charset="0"/>
                <a:ea typeface="맑은 고딕" pitchFamily="50" charset="-127"/>
              </a:defRPr>
            </a:lvl5pPr>
            <a:lvl6pPr marL="2514600" indent="-228600"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pPr algn="ctr" eaLnBrk="1" hangingPunct="1"/>
            <a:fld id="{F259D1FB-324D-4AAC-A889-2E3BE6B7BEE5}" type="slidenum">
              <a:rPr lang="ko-KR" altLang="en-US" sz="800" b="0">
                <a:ea typeface="MS PGothic" pitchFamily="34" charset="-128"/>
              </a:rPr>
              <a:pPr algn="ctr" eaLnBrk="1" hangingPunct="1"/>
              <a:t>‹#›</a:t>
            </a:fld>
            <a:endParaRPr lang="en-US" altLang="ko-KR" sz="800" b="0">
              <a:ea typeface="MS PGothic" pitchFamily="34" charset="-128"/>
            </a:endParaRPr>
          </a:p>
        </p:txBody>
      </p:sp>
      <p:sp>
        <p:nvSpPr>
          <p:cNvPr id="5" name="Rectangle 6"/>
          <p:cNvSpPr>
            <a:spLocks noChangeArrowheads="1"/>
          </p:cNvSpPr>
          <p:nvPr userDrawn="1"/>
        </p:nvSpPr>
        <p:spPr bwMode="black">
          <a:xfrm>
            <a:off x="4222750" y="6470650"/>
            <a:ext cx="1371600" cy="184150"/>
          </a:xfrm>
          <a:prstGeom prst="rect">
            <a:avLst/>
          </a:prstGeom>
          <a:noFill/>
          <a:ln>
            <a:noFill/>
          </a:ln>
        </p:spPr>
        <p:txBody>
          <a:bodyPr lIns="92075" tIns="46038" rIns="92075" bIns="46038"/>
          <a:lstStyle>
            <a:lvl1pPr>
              <a:defRPr sz="1400" b="1">
                <a:solidFill>
                  <a:srgbClr val="000000"/>
                </a:solidFill>
                <a:latin typeface="Arial" charset="0"/>
                <a:ea typeface="맑은 고딕" pitchFamily="50" charset="-127"/>
              </a:defRPr>
            </a:lvl1pPr>
            <a:lvl2pPr marL="742950" indent="-285750">
              <a:defRPr sz="1400" b="1">
                <a:solidFill>
                  <a:srgbClr val="000000"/>
                </a:solidFill>
                <a:latin typeface="Arial" charset="0"/>
                <a:ea typeface="맑은 고딕" pitchFamily="50" charset="-127"/>
              </a:defRPr>
            </a:lvl2pPr>
            <a:lvl3pPr marL="1143000" indent="-228600">
              <a:defRPr sz="1400" b="1">
                <a:solidFill>
                  <a:srgbClr val="000000"/>
                </a:solidFill>
                <a:latin typeface="Arial" charset="0"/>
                <a:ea typeface="맑은 고딕" pitchFamily="50" charset="-127"/>
              </a:defRPr>
            </a:lvl3pPr>
            <a:lvl4pPr marL="1600200" indent="-228600">
              <a:defRPr sz="1400" b="1">
                <a:solidFill>
                  <a:srgbClr val="000000"/>
                </a:solidFill>
                <a:latin typeface="Arial" charset="0"/>
                <a:ea typeface="맑은 고딕" pitchFamily="50" charset="-127"/>
              </a:defRPr>
            </a:lvl4pPr>
            <a:lvl5pPr marL="2057400" indent="-228600">
              <a:defRPr sz="1400" b="1">
                <a:solidFill>
                  <a:srgbClr val="000000"/>
                </a:solidFill>
                <a:latin typeface="Arial" charset="0"/>
                <a:ea typeface="맑은 고딕" pitchFamily="50" charset="-127"/>
              </a:defRPr>
            </a:lvl5pPr>
            <a:lvl6pPr marL="2514600" indent="-228600" eaLnBrk="0" fontAlgn="base" hangingPunct="0">
              <a:spcBef>
                <a:spcPct val="0"/>
              </a:spcBef>
              <a:spcAft>
                <a:spcPct val="0"/>
              </a:spcAft>
              <a:defRPr sz="1400" b="1">
                <a:solidFill>
                  <a:srgbClr val="000000"/>
                </a:solidFill>
                <a:latin typeface="Arial" charset="0"/>
                <a:ea typeface="맑은 고딕" pitchFamily="50" charset="-127"/>
              </a:defRPr>
            </a:lvl6pPr>
            <a:lvl7pPr marL="2971800" indent="-228600" eaLnBrk="0" fontAlgn="base" hangingPunct="0">
              <a:spcBef>
                <a:spcPct val="0"/>
              </a:spcBef>
              <a:spcAft>
                <a:spcPct val="0"/>
              </a:spcAft>
              <a:defRPr sz="1400" b="1">
                <a:solidFill>
                  <a:srgbClr val="000000"/>
                </a:solidFill>
                <a:latin typeface="Arial" charset="0"/>
                <a:ea typeface="맑은 고딕" pitchFamily="50" charset="-127"/>
              </a:defRPr>
            </a:lvl7pPr>
            <a:lvl8pPr marL="3429000" indent="-228600" eaLnBrk="0" fontAlgn="base" hangingPunct="0">
              <a:spcBef>
                <a:spcPct val="0"/>
              </a:spcBef>
              <a:spcAft>
                <a:spcPct val="0"/>
              </a:spcAft>
              <a:defRPr sz="1400" b="1">
                <a:solidFill>
                  <a:srgbClr val="000000"/>
                </a:solidFill>
                <a:latin typeface="Arial" charset="0"/>
                <a:ea typeface="맑은 고딕" pitchFamily="50" charset="-127"/>
              </a:defRPr>
            </a:lvl8pPr>
            <a:lvl9pPr marL="3886200" indent="-228600" eaLnBrk="0" fontAlgn="base" hangingPunct="0">
              <a:spcBef>
                <a:spcPct val="0"/>
              </a:spcBef>
              <a:spcAft>
                <a:spcPct val="0"/>
              </a:spcAft>
              <a:defRPr sz="1400" b="1">
                <a:solidFill>
                  <a:srgbClr val="000000"/>
                </a:solidFill>
                <a:latin typeface="Arial" charset="0"/>
                <a:ea typeface="맑은 고딕" pitchFamily="50" charset="-127"/>
              </a:defRPr>
            </a:lvl9pPr>
          </a:lstStyle>
          <a:p>
            <a:pPr algn="r" eaLnBrk="1" hangingPunct="1">
              <a:defRPr/>
            </a:pPr>
            <a:r>
              <a:rPr lang="en-US" altLang="ko-KR" sz="800" b="0" dirty="0">
                <a:ea typeface="MS PGothic" pitchFamily="34" charset="-128"/>
              </a:rPr>
              <a:t>© 2011 IBM Corporation</a:t>
            </a:r>
          </a:p>
        </p:txBody>
      </p:sp>
      <p:pic>
        <p:nvPicPr>
          <p:cNvPr id="6" name="Picture 12" descr="Band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906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3" descr="5300_IBMpos_black"/>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0725" y="6470650"/>
            <a:ext cx="608013"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제목 1"/>
          <p:cNvSpPr>
            <a:spLocks noGrp="1"/>
          </p:cNvSpPr>
          <p:nvPr>
            <p:ph type="title"/>
          </p:nvPr>
        </p:nvSpPr>
        <p:spPr>
          <a:xfrm>
            <a:off x="249238" y="561975"/>
            <a:ext cx="9248775" cy="387350"/>
          </a:xfrm>
          <a:prstGeom prst="rect">
            <a:avLst/>
          </a:prstGeom>
        </p:spPr>
        <p:txBody>
          <a:bodyPr anchor="t"/>
          <a:lstStyle>
            <a:lvl1pPr>
              <a:defRPr sz="1800">
                <a:solidFill>
                  <a:schemeClr val="accent5">
                    <a:lumMod val="25000"/>
                  </a:schemeClr>
                </a:solidFill>
              </a:defRPr>
            </a:lvl1pPr>
          </a:lstStyle>
          <a:p>
            <a:r>
              <a:rPr lang="ko-KR" altLang="en-US" dirty="0"/>
              <a:t>마스터 제목 스타일 편집</a:t>
            </a:r>
          </a:p>
        </p:txBody>
      </p:sp>
      <p:sp>
        <p:nvSpPr>
          <p:cNvPr id="3" name="내용 개체 틀 2"/>
          <p:cNvSpPr>
            <a:spLocks noGrp="1"/>
          </p:cNvSpPr>
          <p:nvPr>
            <p:ph idx="1"/>
          </p:nvPr>
        </p:nvSpPr>
        <p:spPr>
          <a:xfrm>
            <a:off x="363538" y="1008063"/>
            <a:ext cx="9162599" cy="747712"/>
          </a:xfrm>
          <a:prstGeom prst="rect">
            <a:avLst/>
          </a:prstGeom>
        </p:spPr>
        <p:txBody>
          <a:bodyPr/>
          <a:lstStyle>
            <a:lvl1pPr marL="0" indent="0">
              <a:buNone/>
              <a:defRPr/>
            </a:lvl1pPr>
          </a:lstStyle>
          <a:p>
            <a:pPr lvl="0"/>
            <a:r>
              <a:rPr lang="ko-KR" altLang="en-US" dirty="0"/>
              <a:t>마스터 텍스트 스타일을 편집합니다</a:t>
            </a:r>
          </a:p>
        </p:txBody>
      </p:sp>
    </p:spTree>
    <p:extLst>
      <p:ext uri="{BB962C8B-B14F-4D97-AF65-F5344CB8AC3E}">
        <p14:creationId xmlns:p14="http://schemas.microsoft.com/office/powerpoint/2010/main" val="286692183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sp>
        <p:nvSpPr>
          <p:cNvPr id="4" name="Rectangle 3"/>
          <p:cNvSpPr/>
          <p:nvPr userDrawn="1"/>
        </p:nvSpPr>
        <p:spPr>
          <a:xfrm>
            <a:off x="2476500" y="0"/>
            <a:ext cx="74295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00E5E"/>
              </a:solidFill>
              <a:latin typeface="Arial Regular" charset="0"/>
            </a:endParaRPr>
          </a:p>
        </p:txBody>
      </p:sp>
      <p:sp>
        <p:nvSpPr>
          <p:cNvPr id="2" name="Title 1"/>
          <p:cNvSpPr>
            <a:spLocks noGrp="1"/>
          </p:cNvSpPr>
          <p:nvPr>
            <p:ph type="title"/>
          </p:nvPr>
        </p:nvSpPr>
        <p:spPr>
          <a:xfrm>
            <a:off x="309563" y="1714500"/>
            <a:ext cx="2012156" cy="30480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309563" y="220980"/>
            <a:ext cx="2012156" cy="6858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212954" y="6515113"/>
            <a:ext cx="383309" cy="190500"/>
          </a:xfrm>
          <a:prstGeom prst="rect">
            <a:avLst/>
          </a:prstGeom>
        </p:spPr>
      </p:pic>
      <p:sp>
        <p:nvSpPr>
          <p:cNvPr id="9" name="Content Placeholder 2"/>
          <p:cNvSpPr>
            <a:spLocks noGrp="1"/>
          </p:cNvSpPr>
          <p:nvPr>
            <p:ph idx="10"/>
          </p:nvPr>
        </p:nvSpPr>
        <p:spPr>
          <a:xfrm>
            <a:off x="4953000" y="1714500"/>
            <a:ext cx="2321719" cy="4381500"/>
          </a:xfrm>
        </p:spPr>
        <p:txBody>
          <a:bodyPr tIns="0">
            <a:noAutofit/>
          </a:bodyPr>
          <a:lstStyle>
            <a:lvl1pPr>
              <a:defRPr>
                <a:solidFill>
                  <a:schemeClr val="tx1"/>
                </a:solidFill>
                <a:latin typeface="IBM Plex Sans" charset="0"/>
                <a:ea typeface="IBM Plex Sans" charset="0"/>
                <a:cs typeface="IBM Plex Sans" charset="0"/>
              </a:defRPr>
            </a:lvl1pPr>
            <a:lvl2pPr>
              <a:defRPr>
                <a:solidFill>
                  <a:schemeClr val="tx1"/>
                </a:solidFill>
                <a:latin typeface="IBM Plex Sans" charset="0"/>
                <a:ea typeface="IBM Plex Sans" charset="0"/>
                <a:cs typeface="IBM Plex Sans" charset="0"/>
              </a:defRPr>
            </a:lvl2pPr>
            <a:lvl3pPr>
              <a:defRPr>
                <a:solidFill>
                  <a:schemeClr val="tx1"/>
                </a:solidFill>
                <a:latin typeface="IBM Plex Sans" charset="0"/>
                <a:ea typeface="IBM Plex Sans" charset="0"/>
                <a:cs typeface="IBM Plex Sans" charset="0"/>
              </a:defRPr>
            </a:lvl3pPr>
            <a:lvl4pPr>
              <a:defRPr>
                <a:solidFill>
                  <a:schemeClr val="tx1"/>
                </a:solidFill>
                <a:latin typeface="IBM Plex Sans" charset="0"/>
                <a:ea typeface="IBM Plex Sans" charset="0"/>
                <a:cs typeface="IBM Plex Sans" charset="0"/>
              </a:defRPr>
            </a:lvl4pPr>
            <a:lvl5pPr>
              <a:defRPr>
                <a:solidFill>
                  <a:schemeClr val="tx1"/>
                </a:solidFill>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2631281" y="1714500"/>
            <a:ext cx="2166938" cy="4381500"/>
          </a:xfrm>
        </p:spPr>
        <p:txBody>
          <a:bodyPr tIns="0">
            <a:noAutofit/>
          </a:bodyPr>
          <a:lstStyle>
            <a:lvl1pPr>
              <a:defRPr>
                <a:solidFill>
                  <a:schemeClr val="tx1"/>
                </a:solidFill>
                <a:latin typeface="IBM Plex Sans" charset="0"/>
                <a:ea typeface="IBM Plex Sans" charset="0"/>
                <a:cs typeface="IBM Plex Sans" charset="0"/>
              </a:defRPr>
            </a:lvl1pPr>
            <a:lvl2pPr>
              <a:defRPr>
                <a:solidFill>
                  <a:schemeClr val="tx1"/>
                </a:solidFill>
                <a:latin typeface="IBM Plex Sans" charset="0"/>
                <a:ea typeface="IBM Plex Sans" charset="0"/>
                <a:cs typeface="IBM Plex Sans" charset="0"/>
              </a:defRPr>
            </a:lvl2pPr>
            <a:lvl3pPr>
              <a:defRPr>
                <a:solidFill>
                  <a:schemeClr val="tx1"/>
                </a:solidFill>
                <a:latin typeface="IBM Plex Sans" charset="0"/>
                <a:ea typeface="IBM Plex Sans" charset="0"/>
                <a:cs typeface="IBM Plex Sans" charset="0"/>
              </a:defRPr>
            </a:lvl3pPr>
            <a:lvl4pPr>
              <a:defRPr>
                <a:solidFill>
                  <a:schemeClr val="tx1"/>
                </a:solidFill>
                <a:latin typeface="IBM Plex Sans" charset="0"/>
                <a:ea typeface="IBM Plex Sans" charset="0"/>
                <a:cs typeface="IBM Plex Sans" charset="0"/>
              </a:defRPr>
            </a:lvl4pPr>
            <a:lvl5pPr>
              <a:defRPr>
                <a:solidFill>
                  <a:schemeClr val="tx1"/>
                </a:solidFill>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7429500" y="1714500"/>
            <a:ext cx="2321719" cy="4381500"/>
          </a:xfrm>
        </p:spPr>
        <p:txBody>
          <a:bodyPr tIns="0">
            <a:noAutofit/>
          </a:bodyPr>
          <a:lstStyle>
            <a:lvl1pPr>
              <a:defRPr>
                <a:solidFill>
                  <a:schemeClr val="tx1"/>
                </a:solidFill>
                <a:latin typeface="IBM Plex Sans" charset="0"/>
                <a:ea typeface="IBM Plex Sans" charset="0"/>
                <a:cs typeface="IBM Plex Sans" charset="0"/>
              </a:defRPr>
            </a:lvl1pPr>
            <a:lvl2pPr>
              <a:defRPr>
                <a:solidFill>
                  <a:schemeClr val="tx1"/>
                </a:solidFill>
                <a:latin typeface="IBM Plex Sans" charset="0"/>
                <a:ea typeface="IBM Plex Sans" charset="0"/>
                <a:cs typeface="IBM Plex Sans" charset="0"/>
              </a:defRPr>
            </a:lvl2pPr>
            <a:lvl3pPr>
              <a:defRPr>
                <a:solidFill>
                  <a:schemeClr val="tx1"/>
                </a:solidFill>
                <a:latin typeface="IBM Plex Sans" charset="0"/>
                <a:ea typeface="IBM Plex Sans" charset="0"/>
                <a:cs typeface="IBM Plex Sans" charset="0"/>
              </a:defRPr>
            </a:lvl3pPr>
            <a:lvl4pPr>
              <a:defRPr>
                <a:solidFill>
                  <a:schemeClr val="tx1"/>
                </a:solidFill>
                <a:latin typeface="IBM Plex Sans" charset="0"/>
                <a:ea typeface="IBM Plex Sans" charset="0"/>
                <a:cs typeface="IBM Plex Sans" charset="0"/>
              </a:defRPr>
            </a:lvl4pPr>
            <a:lvl5pPr>
              <a:defRPr>
                <a:solidFill>
                  <a:schemeClr val="tx1"/>
                </a:solidFill>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3"/>
          <p:cNvSpPr>
            <a:spLocks noGrp="1"/>
          </p:cNvSpPr>
          <p:nvPr>
            <p:ph type="body" sz="quarter" idx="14" hasCustomPrompt="1"/>
          </p:nvPr>
        </p:nvSpPr>
        <p:spPr>
          <a:xfrm>
            <a:off x="309562" y="6096000"/>
            <a:ext cx="2043113" cy="403860"/>
          </a:xfrm>
        </p:spPr>
        <p:txBody>
          <a:bodyPr tIns="0" anchor="b"/>
          <a:lstStyle>
            <a:lvl1pPr>
              <a:defRPr sz="600" b="0">
                <a:solidFill>
                  <a:schemeClr val="bg2">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
        <p:nvSpPr>
          <p:cNvPr id="14" name="Footer Placeholder 3"/>
          <p:cNvSpPr txBox="1">
            <a:spLocks/>
          </p:cNvSpPr>
          <p:nvPr userDrawn="1"/>
        </p:nvSpPr>
        <p:spPr>
          <a:xfrm>
            <a:off x="2631281" y="6583680"/>
            <a:ext cx="2693194"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000000">
                    <a:alpha val="60000"/>
                  </a:srgbClr>
                </a:solidFill>
                <a:latin typeface="IBM Plex Sans" charset="0"/>
                <a:ea typeface="IBM Plex Sans" charset="0"/>
                <a:cs typeface="IBM Plex Sans" charset="0"/>
              </a:rPr>
              <a:t>IBM Institute for Business Value</a:t>
            </a:r>
          </a:p>
        </p:txBody>
      </p:sp>
    </p:spTree>
    <p:extLst>
      <p:ext uri="{BB962C8B-B14F-4D97-AF65-F5344CB8AC3E}">
        <p14:creationId xmlns:p14="http://schemas.microsoft.com/office/powerpoint/2010/main" val="29287923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4" name="Rectangle 3"/>
          <p:cNvSpPr/>
          <p:nvPr userDrawn="1"/>
        </p:nvSpPr>
        <p:spPr>
          <a:xfrm>
            <a:off x="2476500" y="0"/>
            <a:ext cx="74295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00E5E"/>
              </a:solidFill>
              <a:latin typeface="Arial Regular" charset="0"/>
            </a:endParaRPr>
          </a:p>
        </p:txBody>
      </p:sp>
      <p:sp>
        <p:nvSpPr>
          <p:cNvPr id="2" name="Title 1"/>
          <p:cNvSpPr>
            <a:spLocks noGrp="1"/>
          </p:cNvSpPr>
          <p:nvPr>
            <p:ph type="title"/>
          </p:nvPr>
        </p:nvSpPr>
        <p:spPr>
          <a:xfrm>
            <a:off x="309563" y="1714500"/>
            <a:ext cx="2012156" cy="30480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309563" y="220980"/>
            <a:ext cx="2012156" cy="6858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212954" y="6515113"/>
            <a:ext cx="383309" cy="190500"/>
          </a:xfrm>
          <a:prstGeom prst="rect">
            <a:avLst/>
          </a:prstGeom>
        </p:spPr>
      </p:pic>
      <p:sp>
        <p:nvSpPr>
          <p:cNvPr id="9" name="Content Placeholder 2"/>
          <p:cNvSpPr>
            <a:spLocks noGrp="1"/>
          </p:cNvSpPr>
          <p:nvPr>
            <p:ph idx="10"/>
          </p:nvPr>
        </p:nvSpPr>
        <p:spPr>
          <a:xfrm>
            <a:off x="4953000" y="1714500"/>
            <a:ext cx="2321719" cy="4381500"/>
          </a:xfrm>
        </p:spPr>
        <p:txBody>
          <a:bodyPr tIns="0">
            <a:noAutofit/>
          </a:bodyPr>
          <a:lstStyle>
            <a:lvl1pPr>
              <a:defRPr>
                <a:solidFill>
                  <a:schemeClr val="tx1"/>
                </a:solidFill>
                <a:latin typeface="IBM Plex Sans" charset="0"/>
                <a:ea typeface="IBM Plex Sans" charset="0"/>
                <a:cs typeface="IBM Plex Sans" charset="0"/>
              </a:defRPr>
            </a:lvl1pPr>
            <a:lvl2pPr>
              <a:defRPr>
                <a:solidFill>
                  <a:schemeClr val="tx1"/>
                </a:solidFill>
                <a:latin typeface="IBM Plex Sans" charset="0"/>
                <a:ea typeface="IBM Plex Sans" charset="0"/>
                <a:cs typeface="IBM Plex Sans" charset="0"/>
              </a:defRPr>
            </a:lvl2pPr>
            <a:lvl3pPr>
              <a:defRPr>
                <a:solidFill>
                  <a:schemeClr val="tx1"/>
                </a:solidFill>
                <a:latin typeface="IBM Plex Sans" charset="0"/>
                <a:ea typeface="IBM Plex Sans" charset="0"/>
                <a:cs typeface="IBM Plex Sans" charset="0"/>
              </a:defRPr>
            </a:lvl3pPr>
            <a:lvl4pPr>
              <a:defRPr>
                <a:solidFill>
                  <a:schemeClr val="tx1"/>
                </a:solidFill>
                <a:latin typeface="IBM Plex Sans" charset="0"/>
                <a:ea typeface="IBM Plex Sans" charset="0"/>
                <a:cs typeface="IBM Plex Sans" charset="0"/>
              </a:defRPr>
            </a:lvl4pPr>
            <a:lvl5pPr>
              <a:defRPr>
                <a:solidFill>
                  <a:schemeClr val="tx1"/>
                </a:solidFill>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2631281" y="1714500"/>
            <a:ext cx="2166938" cy="4381500"/>
          </a:xfrm>
        </p:spPr>
        <p:txBody>
          <a:bodyPr tIns="0">
            <a:noAutofit/>
          </a:bodyPr>
          <a:lstStyle>
            <a:lvl1pPr>
              <a:defRPr>
                <a:solidFill>
                  <a:schemeClr val="tx1"/>
                </a:solidFill>
                <a:latin typeface="IBM Plex Sans" charset="0"/>
                <a:ea typeface="IBM Plex Sans" charset="0"/>
                <a:cs typeface="IBM Plex Sans" charset="0"/>
              </a:defRPr>
            </a:lvl1pPr>
            <a:lvl2pPr>
              <a:defRPr>
                <a:solidFill>
                  <a:schemeClr val="tx1"/>
                </a:solidFill>
                <a:latin typeface="IBM Plex Sans" charset="0"/>
                <a:ea typeface="IBM Plex Sans" charset="0"/>
                <a:cs typeface="IBM Plex Sans" charset="0"/>
              </a:defRPr>
            </a:lvl2pPr>
            <a:lvl3pPr>
              <a:defRPr>
                <a:solidFill>
                  <a:schemeClr val="tx1"/>
                </a:solidFill>
                <a:latin typeface="IBM Plex Sans" charset="0"/>
                <a:ea typeface="IBM Plex Sans" charset="0"/>
                <a:cs typeface="IBM Plex Sans" charset="0"/>
              </a:defRPr>
            </a:lvl3pPr>
            <a:lvl4pPr>
              <a:defRPr>
                <a:solidFill>
                  <a:schemeClr val="tx1"/>
                </a:solidFill>
                <a:latin typeface="IBM Plex Sans" charset="0"/>
                <a:ea typeface="IBM Plex Sans" charset="0"/>
                <a:cs typeface="IBM Plex Sans" charset="0"/>
              </a:defRPr>
            </a:lvl4pPr>
            <a:lvl5pPr>
              <a:defRPr>
                <a:solidFill>
                  <a:schemeClr val="tx1"/>
                </a:solidFill>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7429500" y="1714500"/>
            <a:ext cx="2321719" cy="4381500"/>
          </a:xfrm>
        </p:spPr>
        <p:txBody>
          <a:bodyPr tIns="0">
            <a:noAutofit/>
          </a:bodyPr>
          <a:lstStyle>
            <a:lvl1pPr>
              <a:defRPr>
                <a:solidFill>
                  <a:schemeClr val="tx1"/>
                </a:solidFill>
                <a:latin typeface="IBM Plex Sans" charset="0"/>
                <a:ea typeface="IBM Plex Sans" charset="0"/>
                <a:cs typeface="IBM Plex Sans" charset="0"/>
              </a:defRPr>
            </a:lvl1pPr>
            <a:lvl2pPr>
              <a:defRPr>
                <a:solidFill>
                  <a:schemeClr val="tx1"/>
                </a:solidFill>
                <a:latin typeface="IBM Plex Sans" charset="0"/>
                <a:ea typeface="IBM Plex Sans" charset="0"/>
                <a:cs typeface="IBM Plex Sans" charset="0"/>
              </a:defRPr>
            </a:lvl2pPr>
            <a:lvl3pPr>
              <a:defRPr>
                <a:solidFill>
                  <a:schemeClr val="tx1"/>
                </a:solidFill>
                <a:latin typeface="IBM Plex Sans" charset="0"/>
                <a:ea typeface="IBM Plex Sans" charset="0"/>
                <a:cs typeface="IBM Plex Sans" charset="0"/>
              </a:defRPr>
            </a:lvl3pPr>
            <a:lvl4pPr>
              <a:defRPr>
                <a:solidFill>
                  <a:schemeClr val="tx1"/>
                </a:solidFill>
                <a:latin typeface="IBM Plex Sans" charset="0"/>
                <a:ea typeface="IBM Plex Sans" charset="0"/>
                <a:cs typeface="IBM Plex Sans" charset="0"/>
              </a:defRPr>
            </a:lvl4pPr>
            <a:lvl5pPr>
              <a:defRPr>
                <a:solidFill>
                  <a:schemeClr val="tx1"/>
                </a:solidFill>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3"/>
          <p:cNvSpPr>
            <a:spLocks noGrp="1"/>
          </p:cNvSpPr>
          <p:nvPr>
            <p:ph type="body" sz="quarter" idx="14" hasCustomPrompt="1"/>
          </p:nvPr>
        </p:nvSpPr>
        <p:spPr>
          <a:xfrm>
            <a:off x="309563" y="6096000"/>
            <a:ext cx="2043113" cy="403860"/>
          </a:xfrm>
        </p:spPr>
        <p:txBody>
          <a:bodyPr tIns="0" anchor="b"/>
          <a:lstStyle>
            <a:lvl1pPr>
              <a:defRPr sz="600" b="0">
                <a:solidFill>
                  <a:schemeClr val="bg2">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
        <p:nvSpPr>
          <p:cNvPr id="12" name="Footer Placeholder 3"/>
          <p:cNvSpPr txBox="1">
            <a:spLocks/>
          </p:cNvSpPr>
          <p:nvPr userDrawn="1"/>
        </p:nvSpPr>
        <p:spPr>
          <a:xfrm>
            <a:off x="2631281" y="6583680"/>
            <a:ext cx="2693194"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000000">
                    <a:alpha val="60000"/>
                  </a:srgbClr>
                </a:solidFill>
                <a:latin typeface="IBM Plex Sans" charset="0"/>
                <a:ea typeface="IBM Plex Sans" charset="0"/>
                <a:cs typeface="IBM Plex Sans" charset="0"/>
              </a:rPr>
              <a:t>IBM Industry Academy | IBM Institute for Business Value | IBM Research</a:t>
            </a:r>
          </a:p>
        </p:txBody>
      </p:sp>
    </p:spTree>
    <p:extLst>
      <p:ext uri="{BB962C8B-B14F-4D97-AF65-F5344CB8AC3E}">
        <p14:creationId xmlns:p14="http://schemas.microsoft.com/office/powerpoint/2010/main" val="29385380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6" name="Rectangle 5"/>
          <p:cNvSpPr/>
          <p:nvPr userDrawn="1"/>
        </p:nvSpPr>
        <p:spPr>
          <a:xfrm flipH="1">
            <a:off x="0" y="1058"/>
            <a:ext cx="4953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00E5E"/>
              </a:solidFill>
              <a:latin typeface="Arial Regular" charset="0"/>
            </a:endParaRPr>
          </a:p>
        </p:txBody>
      </p:sp>
      <p:sp>
        <p:nvSpPr>
          <p:cNvPr id="2" name="Title 1"/>
          <p:cNvSpPr>
            <a:spLocks noGrp="1"/>
          </p:cNvSpPr>
          <p:nvPr>
            <p:ph type="title" hasCustomPrompt="1"/>
          </p:nvPr>
        </p:nvSpPr>
        <p:spPr>
          <a:xfrm>
            <a:off x="309563" y="571500"/>
            <a:ext cx="4439126" cy="9525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4457700" cy="4381500"/>
          </a:xfrm>
        </p:spPr>
        <p:txBody>
          <a:bodyPr tIns="0">
            <a:noAutofit/>
          </a:bodyPr>
          <a:lstStyle>
            <a:lvl1pPr>
              <a:defRPr>
                <a:latin typeface="IBM Plex Sans" charset="0"/>
                <a:ea typeface="IBM Plex Sans" charset="0"/>
                <a:cs typeface="IBM Plex Sans" charset="0"/>
              </a:defRPr>
            </a:lvl1pPr>
            <a:lvl2pPr>
              <a:defRPr>
                <a:latin typeface="IBM Plex Sans" charset="0"/>
                <a:ea typeface="IBM Plex Sans" charset="0"/>
                <a:cs typeface="IBM Plex Sans" charset="0"/>
              </a:defRPr>
            </a:lvl2pPr>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5107781" y="1714500"/>
            <a:ext cx="4457700" cy="4381500"/>
          </a:xfrm>
        </p:spPr>
        <p:txBody>
          <a:bodyPr tIns="0">
            <a:noAutofit/>
          </a:bodyPr>
          <a:lstStyle>
            <a:lvl1pPr>
              <a:defRPr>
                <a:latin typeface="IBM Plex Sans" charset="0"/>
                <a:ea typeface="IBM Plex Sans" charset="0"/>
                <a:cs typeface="IBM Plex Sans" charset="0"/>
              </a:defRPr>
            </a:lvl1pPr>
            <a:lvl2pPr>
              <a:defRPr>
                <a:latin typeface="IBM Plex Sans" charset="0"/>
                <a:ea typeface="IBM Plex Sans" charset="0"/>
                <a:cs typeface="IBM Plex Sans" charset="0"/>
              </a:defRPr>
            </a:lvl2pPr>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309563" y="6118860"/>
            <a:ext cx="4457700" cy="381000"/>
          </a:xfrm>
        </p:spPr>
        <p:txBody>
          <a:bodyPr tIns="0" anchor="b"/>
          <a:lstStyle>
            <a:lvl1pPr>
              <a:defRPr sz="600" b="0">
                <a:solidFill>
                  <a:schemeClr val="bg2">
                    <a:alpha val="70000"/>
                  </a:schemeClr>
                </a:solidFill>
                <a:latin typeface="IBM Plex Sans" charset="0"/>
                <a:ea typeface="IBM Plex Sans" charset="0"/>
                <a:cs typeface="IBM Plex Sans" charset="0"/>
              </a:defRPr>
            </a:lvl1pPr>
            <a:lvl2pPr>
              <a:defRPr sz="700"/>
            </a:lvl2pPr>
            <a:lvl3pPr>
              <a:defRPr sz="700"/>
            </a:lvl3pPr>
            <a:lvl4pPr>
              <a:defRPr sz="700"/>
            </a:lvl4pPr>
            <a:lvl5pPr>
              <a:defRPr sz="700"/>
            </a:lvl5pPr>
          </a:lstStyle>
          <a:p>
            <a:pPr lvl="0"/>
            <a:r>
              <a:rPr lang="en-US" dirty="0"/>
              <a:t>Source: Edit source here</a:t>
            </a:r>
          </a:p>
        </p:txBody>
      </p:sp>
      <p:grpSp>
        <p:nvGrpSpPr>
          <p:cNvPr id="12" name="Group 11"/>
          <p:cNvGrpSpPr/>
          <p:nvPr userDrawn="1"/>
        </p:nvGrpSpPr>
        <p:grpSpPr>
          <a:xfrm>
            <a:off x="619125" y="6583046"/>
            <a:ext cx="1837164" cy="183809"/>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a:t>
              </a:r>
              <a:r>
                <a:rPr lang="en-US" sz="300" b="0" dirty="0">
                  <a:solidFill>
                    <a:srgbClr val="FFFFFF">
                      <a:alpha val="60000"/>
                    </a:srgbClr>
                  </a:solidFill>
                  <a:latin typeface="IBM Plex Sans" charset="0"/>
                  <a:ea typeface="IBM Plex Sans" charset="0"/>
                  <a:cs typeface="IBM Plex Sans" charset="0"/>
                </a:rPr>
                <a:t> </a:t>
              </a:r>
              <a:r>
                <a:rPr lang="en-US" sz="600" b="0" dirty="0">
                  <a:solidFill>
                    <a:srgbClr val="FFFFFF">
                      <a:alpha val="60000"/>
                    </a:srgbClr>
                  </a:solidFill>
                  <a:latin typeface="IBM Plex Sans" charset="0"/>
                  <a:ea typeface="IBM Plex Sans" charset="0"/>
                  <a:cs typeface="IBM Plex Sans" charset="0"/>
                </a:rPr>
                <a:t>2019 IBM Corporation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FFFFFF">
                      <a:alpha val="60000"/>
                    </a:srgbClr>
                  </a:solidFill>
                  <a:latin typeface="IBM Plex Sans" charset="0"/>
                  <a:ea typeface="IBM Plex Sans" charset="0"/>
                  <a:cs typeface="IBM Plex Sans" charset="0"/>
                </a:rPr>
                <a:t> </a:t>
              </a:r>
              <a:fld id="{7C9968D1-C8E5-4FE3-AED4-7D4518C301B3}" type="datetime3">
                <a:rPr lang="en-US" sz="600" b="0" smtClean="0">
                  <a:solidFill>
                    <a:srgbClr val="FFFFFF">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FFFFFF">
                    <a:alpha val="60000"/>
                  </a:srgbClr>
                </a:solidFill>
                <a:latin typeface="IBM Plex Sans" charset="0"/>
                <a:ea typeface="IBM Plex Sans" charset="0"/>
                <a:cs typeface="IBM Plex Sans" charset="0"/>
              </a:endParaRPr>
            </a:p>
          </p:txBody>
        </p:sp>
      </p:grpSp>
      <p:sp>
        <p:nvSpPr>
          <p:cNvPr id="16"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sp>
        <p:nvSpPr>
          <p:cNvPr id="17" name="Footer Placeholder 3"/>
          <p:cNvSpPr txBox="1">
            <a:spLocks/>
          </p:cNvSpPr>
          <p:nvPr userDrawn="1"/>
        </p:nvSpPr>
        <p:spPr>
          <a:xfrm>
            <a:off x="2631281" y="6583680"/>
            <a:ext cx="2693194"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IBM Industry Academy | IBM Institute for Business Value | IBM Research</a:t>
            </a:r>
          </a:p>
        </p:txBody>
      </p:sp>
    </p:spTree>
    <p:extLst>
      <p:ext uri="{BB962C8B-B14F-4D97-AF65-F5344CB8AC3E}">
        <p14:creationId xmlns:p14="http://schemas.microsoft.com/office/powerpoint/2010/main" val="32947525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10_Title and Content">
    <p:spTree>
      <p:nvGrpSpPr>
        <p:cNvPr id="1" name=""/>
        <p:cNvGrpSpPr/>
        <p:nvPr/>
      </p:nvGrpSpPr>
      <p:grpSpPr>
        <a:xfrm>
          <a:off x="0" y="0"/>
          <a:ext cx="0" cy="0"/>
          <a:chOff x="0" y="0"/>
          <a:chExt cx="0" cy="0"/>
        </a:xfrm>
      </p:grpSpPr>
      <p:sp>
        <p:nvSpPr>
          <p:cNvPr id="4" name="Rectangle 3"/>
          <p:cNvSpPr/>
          <p:nvPr userDrawn="1"/>
        </p:nvSpPr>
        <p:spPr>
          <a:xfrm flipH="1">
            <a:off x="0" y="0"/>
            <a:ext cx="4953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00000"/>
              </a:solidFill>
              <a:latin typeface="Arial Regular" charset="0"/>
            </a:endParaRPr>
          </a:p>
        </p:txBody>
      </p:sp>
      <p:sp>
        <p:nvSpPr>
          <p:cNvPr id="2" name="Title 1"/>
          <p:cNvSpPr>
            <a:spLocks noGrp="1"/>
          </p:cNvSpPr>
          <p:nvPr>
            <p:ph type="title"/>
          </p:nvPr>
        </p:nvSpPr>
        <p:spPr/>
        <p:txBody>
          <a:bodyPr>
            <a:noAutofit/>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309563" y="1714500"/>
            <a:ext cx="4457700" cy="4381500"/>
          </a:xfrm>
        </p:spPr>
        <p:txBody>
          <a:bodyPr tIns="0">
            <a:noAutofit/>
          </a:bodyPr>
          <a:lstStyle>
            <a:lvl1pPr>
              <a:defRPr>
                <a:solidFill>
                  <a:schemeClr val="tx1"/>
                </a:solidFill>
                <a:latin typeface="IBM Plex Sans" charset="0"/>
                <a:ea typeface="IBM Plex Sans" charset="0"/>
                <a:cs typeface="IBM Plex Sans" charset="0"/>
              </a:defRPr>
            </a:lvl1pPr>
            <a:lvl2pPr>
              <a:defRPr>
                <a:solidFill>
                  <a:schemeClr val="tx1"/>
                </a:solidFill>
                <a:latin typeface="IBM Plex Sans" charset="0"/>
                <a:ea typeface="IBM Plex Sans" charset="0"/>
                <a:cs typeface="IBM Plex Sans" charset="0"/>
              </a:defRPr>
            </a:lvl2pPr>
            <a:lvl3pPr>
              <a:defRPr>
                <a:solidFill>
                  <a:schemeClr val="tx1"/>
                </a:solidFill>
                <a:latin typeface="IBM Plex Sans" charset="0"/>
                <a:ea typeface="IBM Plex Sans" charset="0"/>
                <a:cs typeface="IBM Plex Sans" charset="0"/>
              </a:defRPr>
            </a:lvl3pPr>
            <a:lvl4pPr>
              <a:defRPr>
                <a:solidFill>
                  <a:schemeClr val="tx1"/>
                </a:solidFill>
                <a:latin typeface="IBM Plex Sans" charset="0"/>
                <a:ea typeface="IBM Plex Sans" charset="0"/>
                <a:cs typeface="IBM Plex Sans" charset="0"/>
              </a:defRPr>
            </a:lvl4pPr>
            <a:lvl5pPr>
              <a:defRPr>
                <a:solidFill>
                  <a:schemeClr val="tx1"/>
                </a:solidFill>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5107781" y="1714500"/>
            <a:ext cx="4457700" cy="4381500"/>
          </a:xfrm>
        </p:spPr>
        <p:txBody>
          <a:bodyPr tIns="0">
            <a:noAutofit/>
          </a:bodyPr>
          <a:lstStyle>
            <a:lvl1pPr>
              <a:defRPr>
                <a:solidFill>
                  <a:schemeClr val="tx1"/>
                </a:solidFill>
                <a:latin typeface="IBM Plex Sans" charset="0"/>
                <a:ea typeface="IBM Plex Sans" charset="0"/>
                <a:cs typeface="IBM Plex Sans" charset="0"/>
              </a:defRPr>
            </a:lvl1pPr>
            <a:lvl2pPr>
              <a:defRPr>
                <a:solidFill>
                  <a:schemeClr val="tx1"/>
                </a:solidFill>
                <a:latin typeface="IBM Plex Sans" charset="0"/>
                <a:ea typeface="IBM Plex Sans" charset="0"/>
                <a:cs typeface="IBM Plex Sans" charset="0"/>
              </a:defRPr>
            </a:lvl2pPr>
            <a:lvl3pPr>
              <a:defRPr>
                <a:solidFill>
                  <a:schemeClr val="tx1"/>
                </a:solidFill>
                <a:latin typeface="IBM Plex Sans" charset="0"/>
                <a:ea typeface="IBM Plex Sans" charset="0"/>
                <a:cs typeface="IBM Plex Sans" charset="0"/>
              </a:defRPr>
            </a:lvl3pPr>
            <a:lvl4pPr>
              <a:defRPr>
                <a:solidFill>
                  <a:schemeClr val="tx1"/>
                </a:solidFill>
                <a:latin typeface="IBM Plex Sans" charset="0"/>
                <a:ea typeface="IBM Plex Sans" charset="0"/>
                <a:cs typeface="IBM Plex Sans" charset="0"/>
              </a:defRPr>
            </a:lvl4pPr>
            <a:lvl5pPr>
              <a:defRPr>
                <a:solidFill>
                  <a:schemeClr val="tx1"/>
                </a:solidFill>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309563" y="6118860"/>
            <a:ext cx="4457700" cy="381000"/>
          </a:xfrm>
        </p:spPr>
        <p:txBody>
          <a:bodyPr tIns="0" anchor="b"/>
          <a:lstStyle>
            <a:lvl1pPr>
              <a:defRPr sz="600" b="0">
                <a:solidFill>
                  <a:schemeClr val="tx1">
                    <a:alpha val="60000"/>
                  </a:schemeClr>
                </a:solidFill>
              </a:defRPr>
            </a:lvl1pPr>
            <a:lvl2pPr>
              <a:defRPr sz="700"/>
            </a:lvl2pPr>
            <a:lvl3pPr>
              <a:defRPr sz="700"/>
            </a:lvl3pPr>
            <a:lvl4pPr>
              <a:defRPr sz="700"/>
            </a:lvl4pPr>
            <a:lvl5pPr>
              <a:defRPr sz="700"/>
            </a:lvl5pPr>
          </a:lstStyle>
          <a:p>
            <a:pPr lvl="0"/>
            <a:r>
              <a:rPr lang="en-US" dirty="0"/>
              <a:t>Source: Edit source here</a:t>
            </a:r>
          </a:p>
        </p:txBody>
      </p:sp>
      <p:grpSp>
        <p:nvGrpSpPr>
          <p:cNvPr id="12" name="Group 11"/>
          <p:cNvGrpSpPr/>
          <p:nvPr userDrawn="1"/>
        </p:nvGrpSpPr>
        <p:grpSpPr>
          <a:xfrm>
            <a:off x="619125" y="6583046"/>
            <a:ext cx="1837164" cy="183809"/>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000000">
                      <a:alpha val="60000"/>
                    </a:srgbClr>
                  </a:solidFill>
                  <a:latin typeface="IBM Plex Sans" charset="0"/>
                  <a:ea typeface="IBM Plex Sans" charset="0"/>
                  <a:cs typeface="IBM Plex Sans" charset="0"/>
                </a:rPr>
                <a:t>©</a:t>
              </a:r>
              <a:r>
                <a:rPr lang="en-US" sz="300" b="0" dirty="0">
                  <a:solidFill>
                    <a:srgbClr val="000000">
                      <a:alpha val="60000"/>
                    </a:srgbClr>
                  </a:solidFill>
                  <a:latin typeface="IBM Plex Sans" charset="0"/>
                  <a:ea typeface="IBM Plex Sans" charset="0"/>
                  <a:cs typeface="IBM Plex Sans" charset="0"/>
                </a:rPr>
                <a:t> </a:t>
              </a:r>
              <a:r>
                <a:rPr lang="en-US" sz="600" b="0" dirty="0">
                  <a:solidFill>
                    <a:srgbClr val="000000">
                      <a:alpha val="60000"/>
                    </a:srgbClr>
                  </a:solidFill>
                  <a:latin typeface="IBM Plex Sans" charset="0"/>
                  <a:ea typeface="IBM Plex Sans" charset="0"/>
                  <a:cs typeface="IBM Plex Sans" charset="0"/>
                </a:rPr>
                <a:t>2019 IBM Corporation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000000">
                      <a:alpha val="60000"/>
                    </a:srgbClr>
                  </a:solidFill>
                  <a:latin typeface="IBM Plex Sans" charset="0"/>
                  <a:ea typeface="IBM Plex Sans" charset="0"/>
                  <a:cs typeface="IBM Plex Sans" charset="0"/>
                </a:rPr>
                <a:t> </a:t>
              </a:r>
              <a:fld id="{7C9968D1-C8E5-4FE3-AED4-7D4518C301B3}" type="datetime3">
                <a:rPr lang="en-US" sz="600" b="0" smtClean="0">
                  <a:solidFill>
                    <a:srgbClr val="000000">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000000">
                    <a:alpha val="60000"/>
                  </a:srgbClr>
                </a:solidFill>
                <a:latin typeface="IBM Plex Sans" charset="0"/>
                <a:ea typeface="IBM Plex Sans" charset="0"/>
                <a:cs typeface="IBM Plex Sans" charset="0"/>
              </a:endParaRPr>
            </a:p>
          </p:txBody>
        </p:sp>
      </p:grpSp>
      <p:sp>
        <p:nvSpPr>
          <p:cNvPr id="16"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000000"/>
                </a:solidFill>
                <a:latin typeface="IBM Plex Sans" charset="0"/>
                <a:ea typeface="IBM Plex Sans" charset="0"/>
                <a:cs typeface="IBM Plex Sans" charset="0"/>
              </a:rPr>
              <a:pPr fontAlgn="auto">
                <a:spcBef>
                  <a:spcPts val="0"/>
                </a:spcBef>
                <a:spcAft>
                  <a:spcPts val="0"/>
                </a:spcAft>
              </a:pPr>
              <a:t>‹#›</a:t>
            </a:fld>
            <a:endParaRPr lang="en-US" sz="600" b="0" dirty="0">
              <a:solidFill>
                <a:srgbClr val="000000"/>
              </a:solidFill>
              <a:latin typeface="IBM Plex Sans" charset="0"/>
              <a:ea typeface="IBM Plex Sans" charset="0"/>
              <a:cs typeface="IBM Plex Sans" charset="0"/>
            </a:endParaRPr>
          </a:p>
        </p:txBody>
      </p:sp>
      <p:sp>
        <p:nvSpPr>
          <p:cNvPr id="17" name="Footer Placeholder 3"/>
          <p:cNvSpPr txBox="1">
            <a:spLocks/>
          </p:cNvSpPr>
          <p:nvPr userDrawn="1"/>
        </p:nvSpPr>
        <p:spPr>
          <a:xfrm>
            <a:off x="2631281" y="6583680"/>
            <a:ext cx="2693194"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000000">
                    <a:alpha val="60000"/>
                  </a:srgbClr>
                </a:solidFill>
                <a:latin typeface="IBM Plex Sans" charset="0"/>
                <a:ea typeface="IBM Plex Sans" charset="0"/>
                <a:cs typeface="IBM Plex Sans" charset="0"/>
              </a:rPr>
              <a:t>IBM Industry Academy | IBM Institute for Business Value | IBM Research</a:t>
            </a:r>
          </a:p>
        </p:txBody>
      </p:sp>
    </p:spTree>
    <p:extLst>
      <p:ext uri="{BB962C8B-B14F-4D97-AF65-F5344CB8AC3E}">
        <p14:creationId xmlns:p14="http://schemas.microsoft.com/office/powerpoint/2010/main" val="30132659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4-6_Title and Content">
    <p:spTree>
      <p:nvGrpSpPr>
        <p:cNvPr id="1" name=""/>
        <p:cNvGrpSpPr/>
        <p:nvPr/>
      </p:nvGrpSpPr>
      <p:grpSpPr>
        <a:xfrm>
          <a:off x="0" y="0"/>
          <a:ext cx="0" cy="0"/>
          <a:chOff x="0" y="0"/>
          <a:chExt cx="0" cy="0"/>
        </a:xfrm>
      </p:grpSpPr>
      <p:sp>
        <p:nvSpPr>
          <p:cNvPr id="15" name="Content Placeholder 2"/>
          <p:cNvSpPr>
            <a:spLocks noGrp="1"/>
          </p:cNvSpPr>
          <p:nvPr>
            <p:ph idx="12"/>
          </p:nvPr>
        </p:nvSpPr>
        <p:spPr>
          <a:xfrm>
            <a:off x="0" y="0"/>
            <a:ext cx="9906000" cy="6858000"/>
          </a:xfrm>
          <a:prstGeom prst="rect">
            <a:avLst/>
          </a:prstGeom>
          <a:noFill/>
        </p:spPr>
        <p:txBody>
          <a:bodyPr lIns="335265" tIns="181043" rIns="167632">
            <a:noAutofit/>
          </a:bodyPr>
          <a:lstStyle>
            <a:lvl1pPr>
              <a:defRPr sz="1200" b="0" i="0">
                <a:solidFill>
                  <a:schemeClr val="accent1"/>
                </a:solidFill>
                <a:latin typeface="IBM Plex Sans" charset="0"/>
                <a:ea typeface="IBM Plex Sans" charset="0"/>
                <a:cs typeface="IBM Plex Sans" charset="0"/>
              </a:defRPr>
            </a:lvl1pPr>
            <a:lvl2pPr>
              <a:defRPr b="0" i="0">
                <a:latin typeface="IBM Plex Sans" charset="0"/>
                <a:ea typeface="IBM Plex Sans" charset="0"/>
                <a:cs typeface="IBM Plex Sans" charset="0"/>
              </a:defRPr>
            </a:lvl2pPr>
            <a:lvl3pPr>
              <a:defRPr b="0" i="0">
                <a:latin typeface="IBM Plex Sans" charset="0"/>
                <a:ea typeface="IBM Plex Sans" charset="0"/>
                <a:cs typeface="IBM Plex Sans" charset="0"/>
              </a:defRPr>
            </a:lvl3pPr>
            <a:lvl4pPr>
              <a:defRPr b="0" i="0">
                <a:latin typeface="IBM Plex Sans" charset="0"/>
                <a:ea typeface="IBM Plex Sans" charset="0"/>
                <a:cs typeface="IBM Plex Sans" charset="0"/>
              </a:defRPr>
            </a:lvl4pPr>
            <a:lvl5pPr>
              <a:defRPr b="0" i="0">
                <a:latin typeface="IBM Plex Sans" charset="0"/>
                <a:ea typeface="IBM Plex Sans" charset="0"/>
                <a:cs typeface="IBM Plex Sans" charset="0"/>
              </a:defRPr>
            </a:lvl5pPr>
          </a:lstStyle>
          <a:p>
            <a:pPr lvl="0"/>
            <a:r>
              <a:rPr lang="en-US" dirty="0"/>
              <a:t>Click to edit Master text styles</a:t>
            </a:r>
          </a:p>
        </p:txBody>
      </p:sp>
      <p:sp>
        <p:nvSpPr>
          <p:cNvPr id="10" name="Content Placeholder 2"/>
          <p:cNvSpPr>
            <a:spLocks noGrp="1"/>
          </p:cNvSpPr>
          <p:nvPr>
            <p:ph idx="16"/>
          </p:nvPr>
        </p:nvSpPr>
        <p:spPr>
          <a:xfrm>
            <a:off x="2476500" y="1714500"/>
            <a:ext cx="2476500" cy="5143500"/>
          </a:xfrm>
        </p:spPr>
        <p:txBody>
          <a:bodyPr lIns="167632" tIns="0" rIns="167632">
            <a:noAutofit/>
          </a:bodyPr>
          <a:lstStyle>
            <a:lvl1pPr>
              <a:defRPr sz="1500" b="0">
                <a:solidFill>
                  <a:schemeClr val="bg2"/>
                </a:solidFill>
                <a:latin typeface="IBM Plex Sans" charset="0"/>
                <a:ea typeface="IBM Plex Sans" charset="0"/>
                <a:cs typeface="IBM Plex Sans" charset="0"/>
              </a:defRPr>
            </a:lvl1pPr>
            <a:lvl2pPr>
              <a:defRPr sz="1600" b="1">
                <a:solidFill>
                  <a:schemeClr val="bg2"/>
                </a:solidFill>
                <a:latin typeface="IBM Plex Sans" charset="0"/>
                <a:ea typeface="IBM Plex Sans" charset="0"/>
                <a:cs typeface="IBM Plex Sans" charset="0"/>
              </a:defRPr>
            </a:lvl2pPr>
            <a:lvl3pPr>
              <a:defRPr sz="1600" b="1">
                <a:solidFill>
                  <a:schemeClr val="bg2"/>
                </a:solidFill>
                <a:latin typeface="IBM Plex Sans" charset="0"/>
                <a:ea typeface="IBM Plex Sans" charset="0"/>
                <a:cs typeface="IBM Plex Sans" charset="0"/>
              </a:defRPr>
            </a:lvl3pPr>
            <a:lvl4pPr>
              <a:defRPr sz="1600" b="1">
                <a:solidFill>
                  <a:schemeClr val="bg2"/>
                </a:solidFill>
                <a:latin typeface="IBM Plex Sans" charset="0"/>
                <a:ea typeface="IBM Plex Sans" charset="0"/>
                <a:cs typeface="IBM Plex Sans" charset="0"/>
              </a:defRPr>
            </a:lvl4pPr>
            <a:lvl5pPr>
              <a:defRPr sz="1600" b="1">
                <a:solidFill>
                  <a:schemeClr val="bg2"/>
                </a:solidFill>
                <a:latin typeface="IBM Plex Sans" charset="0"/>
                <a:ea typeface="IBM Plex Sans" charset="0"/>
                <a:cs typeface="IBM Plex Sans" charset="0"/>
              </a:defRPr>
            </a:lvl5pPr>
          </a:lstStyle>
          <a:p>
            <a:pPr lvl="0"/>
            <a:r>
              <a:rPr lang="en-US" dirty="0"/>
              <a:t>Click to edit Master text styles</a:t>
            </a:r>
          </a:p>
        </p:txBody>
      </p:sp>
      <p:sp>
        <p:nvSpPr>
          <p:cNvPr id="9" name="Content Placeholder 2"/>
          <p:cNvSpPr>
            <a:spLocks noGrp="1"/>
          </p:cNvSpPr>
          <p:nvPr>
            <p:ph idx="15"/>
          </p:nvPr>
        </p:nvSpPr>
        <p:spPr>
          <a:xfrm>
            <a:off x="4953000" y="1714500"/>
            <a:ext cx="2476500" cy="5143500"/>
          </a:xfrm>
        </p:spPr>
        <p:txBody>
          <a:bodyPr lIns="167632" tIns="0" rIns="167632">
            <a:noAutofit/>
          </a:bodyPr>
          <a:lstStyle>
            <a:lvl1pPr>
              <a:defRPr sz="1500" b="0">
                <a:solidFill>
                  <a:schemeClr val="bg2"/>
                </a:solidFill>
                <a:latin typeface="IBM Plex Sans" charset="0"/>
                <a:ea typeface="IBM Plex Sans" charset="0"/>
                <a:cs typeface="IBM Plex Sans" charset="0"/>
              </a:defRPr>
            </a:lvl1pPr>
            <a:lvl2pPr>
              <a:defRPr>
                <a:solidFill>
                  <a:schemeClr val="bg2"/>
                </a:solidFill>
                <a:latin typeface="IBM Plex Sans" charset="0"/>
                <a:ea typeface="IBM Plex Sans" charset="0"/>
                <a:cs typeface="IBM Plex Sans" charset="0"/>
              </a:defRPr>
            </a:lvl2pPr>
            <a:lvl3pPr>
              <a:defRPr>
                <a:solidFill>
                  <a:schemeClr val="bg2"/>
                </a:solidFill>
                <a:latin typeface="IBM Plex Sans" charset="0"/>
                <a:ea typeface="IBM Plex Sans" charset="0"/>
                <a:cs typeface="IBM Plex Sans" charset="0"/>
              </a:defRPr>
            </a:lvl3pPr>
            <a:lvl4pPr>
              <a:defRPr>
                <a:solidFill>
                  <a:schemeClr val="bg2"/>
                </a:solidFill>
                <a:latin typeface="IBM Plex Sans" charset="0"/>
                <a:ea typeface="IBM Plex Sans" charset="0"/>
                <a:cs typeface="IBM Plex Sans" charset="0"/>
              </a:defRPr>
            </a:lvl4pPr>
            <a:lvl5pPr>
              <a:defRPr>
                <a:solidFill>
                  <a:schemeClr val="bg2"/>
                </a:solidFill>
                <a:latin typeface="IBM Plex Sans" charset="0"/>
                <a:ea typeface="IBM Plex Sans" charset="0"/>
                <a:cs typeface="IBM Plex Sans" charset="0"/>
              </a:defRPr>
            </a:lvl5pPr>
          </a:lstStyle>
          <a:p>
            <a:pPr lvl="0"/>
            <a:r>
              <a:rPr lang="en-US" dirty="0"/>
              <a:t>Click to edit Master </a:t>
            </a:r>
            <a:r>
              <a:rPr lang="en-US"/>
              <a:t>text styles</a:t>
            </a:r>
            <a:endParaRPr lang="en-US" dirty="0"/>
          </a:p>
        </p:txBody>
      </p:sp>
      <p:sp>
        <p:nvSpPr>
          <p:cNvPr id="11" name="Content Placeholder 2"/>
          <p:cNvSpPr>
            <a:spLocks noGrp="1"/>
          </p:cNvSpPr>
          <p:nvPr>
            <p:ph idx="17"/>
          </p:nvPr>
        </p:nvSpPr>
        <p:spPr>
          <a:xfrm>
            <a:off x="7429500" y="1714500"/>
            <a:ext cx="2476500" cy="5143500"/>
          </a:xfrm>
        </p:spPr>
        <p:txBody>
          <a:bodyPr lIns="167632" tIns="0" rIns="167632">
            <a:noAutofit/>
          </a:bodyPr>
          <a:lstStyle>
            <a:lvl1pPr>
              <a:defRPr sz="1500" b="0">
                <a:solidFill>
                  <a:schemeClr val="bg2"/>
                </a:solidFill>
                <a:latin typeface="IBM Plex Sans" charset="0"/>
                <a:ea typeface="IBM Plex Sans" charset="0"/>
                <a:cs typeface="IBM Plex Sans" charset="0"/>
              </a:defRPr>
            </a:lvl1pPr>
            <a:lvl2pPr>
              <a:defRPr sz="1600" b="1">
                <a:solidFill>
                  <a:schemeClr val="bg2"/>
                </a:solidFill>
                <a:latin typeface="IBM Plex Sans" charset="0"/>
                <a:ea typeface="IBM Plex Sans" charset="0"/>
                <a:cs typeface="IBM Plex Sans" charset="0"/>
              </a:defRPr>
            </a:lvl2pPr>
            <a:lvl3pPr>
              <a:defRPr sz="1600" b="1">
                <a:solidFill>
                  <a:schemeClr val="bg2"/>
                </a:solidFill>
                <a:latin typeface="IBM Plex Sans" charset="0"/>
                <a:ea typeface="IBM Plex Sans" charset="0"/>
                <a:cs typeface="IBM Plex Sans" charset="0"/>
              </a:defRPr>
            </a:lvl3pPr>
            <a:lvl4pPr>
              <a:defRPr sz="1600" b="1">
                <a:solidFill>
                  <a:schemeClr val="bg2"/>
                </a:solidFill>
                <a:latin typeface="IBM Plex Sans" charset="0"/>
                <a:ea typeface="IBM Plex Sans" charset="0"/>
                <a:cs typeface="IBM Plex Sans" charset="0"/>
              </a:defRPr>
            </a:lvl4pPr>
            <a:lvl5pPr>
              <a:defRPr sz="1600" b="1">
                <a:solidFill>
                  <a:schemeClr val="bg2"/>
                </a:solidFill>
                <a:latin typeface="IBM Plex Sans" charset="0"/>
                <a:ea typeface="IBM Plex Sans" charset="0"/>
                <a:cs typeface="IBM Plex Sans" charset="0"/>
              </a:defRPr>
            </a:lvl5pPr>
          </a:lstStyle>
          <a:p>
            <a:pPr lvl="0"/>
            <a:r>
              <a:rPr lang="en-US" dirty="0"/>
              <a:t>Click to edit Master text styles</a:t>
            </a:r>
          </a:p>
        </p:txBody>
      </p:sp>
      <p:sp>
        <p:nvSpPr>
          <p:cNvPr id="5" name="Title 1"/>
          <p:cNvSpPr>
            <a:spLocks noGrp="1"/>
          </p:cNvSpPr>
          <p:nvPr>
            <p:ph type="title"/>
          </p:nvPr>
        </p:nvSpPr>
        <p:spPr>
          <a:xfrm>
            <a:off x="309563" y="1714500"/>
            <a:ext cx="2012156" cy="3048000"/>
          </a:xfrm>
        </p:spPr>
        <p:txBody>
          <a:bodyPr>
            <a:noAutofit/>
          </a:bodyPr>
          <a:lstStyle>
            <a:lvl1pPr>
              <a:defRPr>
                <a:latin typeface="IBM Plex Sans" charset="0"/>
                <a:ea typeface="IBM Plex Sans" charset="0"/>
                <a:cs typeface="IBM Plex Sans" charset="0"/>
              </a:defRPr>
            </a:lvl1pPr>
          </a:lstStyle>
          <a:p>
            <a:r>
              <a:rPr lang="en-US" dirty="0"/>
              <a:t>Click to edit Master title style</a:t>
            </a:r>
          </a:p>
        </p:txBody>
      </p:sp>
      <p:sp>
        <p:nvSpPr>
          <p:cNvPr id="6" name="Content Placeholder 2"/>
          <p:cNvSpPr>
            <a:spLocks noGrp="1"/>
          </p:cNvSpPr>
          <p:nvPr>
            <p:ph idx="10"/>
          </p:nvPr>
        </p:nvSpPr>
        <p:spPr>
          <a:xfrm>
            <a:off x="4953000" y="0"/>
            <a:ext cx="2476500" cy="1714500"/>
          </a:xfrm>
        </p:spPr>
        <p:txBody>
          <a:bodyPr lIns="167632" tIns="167632" rIns="167632">
            <a:noAutofit/>
          </a:bodyPr>
          <a:lstStyle>
            <a:lvl1pPr>
              <a:defRPr sz="1600" b="1">
                <a:solidFill>
                  <a:schemeClr val="bg2"/>
                </a:solidFill>
                <a:latin typeface="IBM Plex Sans" charset="0"/>
                <a:ea typeface="IBM Plex Sans" charset="0"/>
                <a:cs typeface="IBM Plex Sans" charset="0"/>
              </a:defRPr>
            </a:lvl1pPr>
            <a:lvl2pPr>
              <a:defRPr>
                <a:solidFill>
                  <a:schemeClr val="bg2"/>
                </a:solidFill>
                <a:latin typeface="IBM Plex Sans" charset="0"/>
                <a:ea typeface="IBM Plex Sans" charset="0"/>
                <a:cs typeface="IBM Plex Sans" charset="0"/>
              </a:defRPr>
            </a:lvl2pPr>
            <a:lvl3pPr>
              <a:defRPr>
                <a:solidFill>
                  <a:schemeClr val="bg2"/>
                </a:solidFill>
                <a:latin typeface="IBM Plex Sans" charset="0"/>
                <a:ea typeface="IBM Plex Sans" charset="0"/>
                <a:cs typeface="IBM Plex Sans" charset="0"/>
              </a:defRPr>
            </a:lvl3pPr>
            <a:lvl4pPr>
              <a:defRPr>
                <a:solidFill>
                  <a:schemeClr val="bg2"/>
                </a:solidFill>
                <a:latin typeface="IBM Plex Sans" charset="0"/>
                <a:ea typeface="IBM Plex Sans" charset="0"/>
                <a:cs typeface="IBM Plex Sans" charset="0"/>
              </a:defRPr>
            </a:lvl4pPr>
            <a:lvl5pPr>
              <a:defRPr>
                <a:solidFill>
                  <a:schemeClr val="bg2"/>
                </a:solidFill>
                <a:latin typeface="IBM Plex Sans" charset="0"/>
                <a:ea typeface="IBM Plex Sans" charset="0"/>
                <a:cs typeface="IBM Plex Sans" charset="0"/>
              </a:defRPr>
            </a:lvl5pPr>
          </a:lstStyle>
          <a:p>
            <a:pPr lvl="0"/>
            <a:r>
              <a:rPr lang="en-US" dirty="0"/>
              <a:t>Click to edit Master </a:t>
            </a:r>
            <a:r>
              <a:rPr lang="en-US"/>
              <a:t>text styles</a:t>
            </a:r>
            <a:endParaRPr lang="en-US" dirty="0"/>
          </a:p>
        </p:txBody>
      </p:sp>
      <p:sp>
        <p:nvSpPr>
          <p:cNvPr id="7" name="Content Placeholder 2"/>
          <p:cNvSpPr>
            <a:spLocks noGrp="1"/>
          </p:cNvSpPr>
          <p:nvPr>
            <p:ph idx="13"/>
          </p:nvPr>
        </p:nvSpPr>
        <p:spPr>
          <a:xfrm>
            <a:off x="2476500" y="0"/>
            <a:ext cx="2476500" cy="1714500"/>
          </a:xfrm>
        </p:spPr>
        <p:txBody>
          <a:bodyPr lIns="167632" tIns="167632" rIns="167632">
            <a:noAutofit/>
          </a:bodyPr>
          <a:lstStyle>
            <a:lvl1pPr>
              <a:defRPr sz="1600" b="1">
                <a:solidFill>
                  <a:schemeClr val="bg2"/>
                </a:solidFill>
                <a:latin typeface="IBM Plex Sans" charset="0"/>
                <a:ea typeface="IBM Plex Sans" charset="0"/>
                <a:cs typeface="IBM Plex Sans" charset="0"/>
              </a:defRPr>
            </a:lvl1pPr>
            <a:lvl2pPr>
              <a:defRPr sz="1600" b="1">
                <a:solidFill>
                  <a:schemeClr val="bg2"/>
                </a:solidFill>
                <a:latin typeface="IBM Plex Sans" charset="0"/>
                <a:ea typeface="IBM Plex Sans" charset="0"/>
                <a:cs typeface="IBM Plex Sans" charset="0"/>
              </a:defRPr>
            </a:lvl2pPr>
            <a:lvl3pPr>
              <a:defRPr sz="1600" b="1">
                <a:solidFill>
                  <a:schemeClr val="bg2"/>
                </a:solidFill>
                <a:latin typeface="IBM Plex Sans" charset="0"/>
                <a:ea typeface="IBM Plex Sans" charset="0"/>
                <a:cs typeface="IBM Plex Sans" charset="0"/>
              </a:defRPr>
            </a:lvl3pPr>
            <a:lvl4pPr>
              <a:defRPr sz="1600" b="1">
                <a:solidFill>
                  <a:schemeClr val="bg2"/>
                </a:solidFill>
                <a:latin typeface="IBM Plex Sans" charset="0"/>
                <a:ea typeface="IBM Plex Sans" charset="0"/>
                <a:cs typeface="IBM Plex Sans" charset="0"/>
              </a:defRPr>
            </a:lvl4pPr>
            <a:lvl5pPr>
              <a:defRPr sz="1600" b="1">
                <a:solidFill>
                  <a:schemeClr val="bg2"/>
                </a:solidFill>
                <a:latin typeface="IBM Plex Sans" charset="0"/>
                <a:ea typeface="IBM Plex Sans" charset="0"/>
                <a:cs typeface="IBM Plex Sans" charset="0"/>
              </a:defRPr>
            </a:lvl5pPr>
          </a:lstStyle>
          <a:p>
            <a:pPr lvl="0"/>
            <a:r>
              <a:rPr lang="en-US" dirty="0"/>
              <a:t>Click to edit Master text styles</a:t>
            </a:r>
          </a:p>
        </p:txBody>
      </p:sp>
      <p:sp>
        <p:nvSpPr>
          <p:cNvPr id="8" name="Content Placeholder 2"/>
          <p:cNvSpPr>
            <a:spLocks noGrp="1"/>
          </p:cNvSpPr>
          <p:nvPr>
            <p:ph idx="14"/>
          </p:nvPr>
        </p:nvSpPr>
        <p:spPr>
          <a:xfrm>
            <a:off x="7429500" y="0"/>
            <a:ext cx="2476500" cy="1714500"/>
          </a:xfrm>
        </p:spPr>
        <p:txBody>
          <a:bodyPr lIns="167632" tIns="167632" rIns="167632">
            <a:noAutofit/>
          </a:bodyPr>
          <a:lstStyle>
            <a:lvl1pPr>
              <a:defRPr sz="1600" b="1">
                <a:solidFill>
                  <a:schemeClr val="bg2"/>
                </a:solidFill>
                <a:latin typeface="IBM Plex Sans" charset="0"/>
                <a:ea typeface="IBM Plex Sans" charset="0"/>
                <a:cs typeface="IBM Plex Sans" charset="0"/>
              </a:defRPr>
            </a:lvl1pPr>
            <a:lvl2pPr>
              <a:defRPr sz="1600" b="1">
                <a:solidFill>
                  <a:schemeClr val="bg2"/>
                </a:solidFill>
                <a:latin typeface="IBM Plex Sans" charset="0"/>
                <a:ea typeface="IBM Plex Sans" charset="0"/>
                <a:cs typeface="IBM Plex Sans" charset="0"/>
              </a:defRPr>
            </a:lvl2pPr>
            <a:lvl3pPr>
              <a:defRPr sz="1600" b="1">
                <a:solidFill>
                  <a:schemeClr val="bg2"/>
                </a:solidFill>
                <a:latin typeface="IBM Plex Sans" charset="0"/>
                <a:ea typeface="IBM Plex Sans" charset="0"/>
                <a:cs typeface="IBM Plex Sans" charset="0"/>
              </a:defRPr>
            </a:lvl3pPr>
            <a:lvl4pPr>
              <a:defRPr sz="1600" b="1">
                <a:solidFill>
                  <a:schemeClr val="bg2"/>
                </a:solidFill>
                <a:latin typeface="IBM Plex Sans" charset="0"/>
                <a:ea typeface="IBM Plex Sans" charset="0"/>
                <a:cs typeface="IBM Plex Sans" charset="0"/>
              </a:defRPr>
            </a:lvl4pPr>
            <a:lvl5pPr>
              <a:defRPr sz="1600" b="1">
                <a:solidFill>
                  <a:schemeClr val="bg2"/>
                </a:solidFill>
                <a:latin typeface="IBM Plex Sans" charset="0"/>
                <a:ea typeface="IBM Plex Sans" charset="0"/>
                <a:cs typeface="IBM Plex Sans" charset="0"/>
              </a:defRPr>
            </a:lvl5pPr>
          </a:lstStyle>
          <a:p>
            <a:pPr lvl="0"/>
            <a:r>
              <a:rPr lang="en-US" dirty="0"/>
              <a:t>Click to edit Master text styles</a:t>
            </a:r>
          </a:p>
        </p:txBody>
      </p:sp>
    </p:spTree>
    <p:extLst>
      <p:ext uri="{BB962C8B-B14F-4D97-AF65-F5344CB8AC3E}">
        <p14:creationId xmlns:p14="http://schemas.microsoft.com/office/powerpoint/2010/main" val="6703378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4953000" y="0"/>
            <a:ext cx="4953000" cy="6858000"/>
          </a:xfrm>
        </p:spPr>
        <p:txBody>
          <a:bodyPr/>
          <a:lstStyle>
            <a:lvl1pPr>
              <a:defRPr>
                <a:latin typeface="IBM Plex Sans" charset="0"/>
                <a:ea typeface="IBM Plex Sans" charset="0"/>
                <a:cs typeface="IBM Plex Sans" charset="0"/>
              </a:defRPr>
            </a:lvl1pPr>
          </a:lstStyle>
          <a:p>
            <a:endParaRPr lang="en-US"/>
          </a:p>
        </p:txBody>
      </p:sp>
      <p:sp>
        <p:nvSpPr>
          <p:cNvPr id="2" name="Title 1"/>
          <p:cNvSpPr>
            <a:spLocks noGrp="1"/>
          </p:cNvSpPr>
          <p:nvPr>
            <p:ph type="title"/>
          </p:nvPr>
        </p:nvSpPr>
        <p:spPr>
          <a:xfrm>
            <a:off x="309563" y="571500"/>
            <a:ext cx="4488656" cy="4381500"/>
          </a:xfrm>
        </p:spPr>
        <p:txBody>
          <a:bodyPr>
            <a:noAutofit/>
          </a:bodyPr>
          <a:lstStyle>
            <a:lvl1pPr>
              <a:defRPr sz="4000" b="1"/>
            </a:lvl1pPr>
          </a:lstStyle>
          <a:p>
            <a:r>
              <a:rPr lang="en-US" dirty="0"/>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212954" y="6515113"/>
            <a:ext cx="383309" cy="190500"/>
          </a:xfrm>
          <a:prstGeom prst="rect">
            <a:avLst/>
          </a:prstGeom>
        </p:spPr>
      </p:pic>
      <p:sp>
        <p:nvSpPr>
          <p:cNvPr id="24"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spTree>
    <p:extLst>
      <p:ext uri="{BB962C8B-B14F-4D97-AF65-F5344CB8AC3E}">
        <p14:creationId xmlns:p14="http://schemas.microsoft.com/office/powerpoint/2010/main" val="13668639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accent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4953000" y="0"/>
            <a:ext cx="4953000" cy="6858000"/>
          </a:xfrm>
        </p:spPr>
        <p:txBody>
          <a:bodyPr/>
          <a:lstStyle>
            <a:lvl1pPr>
              <a:defRPr>
                <a:latin typeface="IBM Plex Sans" charset="0"/>
                <a:ea typeface="IBM Plex Sans" charset="0"/>
                <a:cs typeface="IBM Plex Sans" charset="0"/>
              </a:defRPr>
            </a:lvl1pPr>
          </a:lstStyle>
          <a:p>
            <a:endParaRPr lang="en-US"/>
          </a:p>
        </p:txBody>
      </p:sp>
      <p:sp>
        <p:nvSpPr>
          <p:cNvPr id="2" name="Title 1"/>
          <p:cNvSpPr>
            <a:spLocks noGrp="1"/>
          </p:cNvSpPr>
          <p:nvPr>
            <p:ph type="title"/>
          </p:nvPr>
        </p:nvSpPr>
        <p:spPr>
          <a:xfrm>
            <a:off x="309563" y="571500"/>
            <a:ext cx="4488656" cy="4381500"/>
          </a:xfrm>
        </p:spPr>
        <p:txBody>
          <a:bodyPr>
            <a:noAutofit/>
          </a:bodyPr>
          <a:lstStyle>
            <a:lvl1pPr>
              <a:defRPr sz="4000" b="1"/>
            </a:lvl1pPr>
          </a:lstStyle>
          <a:p>
            <a:r>
              <a:rPr lang="en-US" dirty="0"/>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212954" y="6515113"/>
            <a:ext cx="383309" cy="190500"/>
          </a:xfrm>
          <a:prstGeom prst="rect">
            <a:avLst/>
          </a:prstGeom>
        </p:spPr>
      </p:pic>
      <p:sp>
        <p:nvSpPr>
          <p:cNvPr id="24"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spTree>
    <p:extLst>
      <p:ext uri="{BB962C8B-B14F-4D97-AF65-F5344CB8AC3E}">
        <p14:creationId xmlns:p14="http://schemas.microsoft.com/office/powerpoint/2010/main" val="306341372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464" name="Group 463"/>
          <p:cNvGrpSpPr/>
          <p:nvPr userDrawn="1"/>
        </p:nvGrpSpPr>
        <p:grpSpPr>
          <a:xfrm>
            <a:off x="1720" y="-2118"/>
            <a:ext cx="9906000" cy="6858000"/>
            <a:chOff x="0" y="0"/>
            <a:chExt cx="14630400" cy="8229600"/>
          </a:xfrm>
        </p:grpSpPr>
        <p:cxnSp>
          <p:nvCxnSpPr>
            <p:cNvPr id="465" name="Straight Connector 464"/>
            <p:cNvCxnSpPr/>
            <p:nvPr userDrawn="1"/>
          </p:nvCxnSpPr>
          <p:spPr>
            <a:xfrm>
              <a:off x="457200" y="457200"/>
              <a:ext cx="1371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6" name="Straight Connector 465"/>
            <p:cNvCxnSpPr/>
            <p:nvPr userDrawn="1"/>
          </p:nvCxnSpPr>
          <p:spPr>
            <a:xfrm flipV="1">
              <a:off x="457200" y="457200"/>
              <a:ext cx="0" cy="73152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7" name="Straight Connector 466"/>
            <p:cNvCxnSpPr/>
            <p:nvPr userDrawn="1"/>
          </p:nvCxnSpPr>
          <p:spPr>
            <a:xfrm flipV="1">
              <a:off x="14173200" y="457200"/>
              <a:ext cx="0" cy="73152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8" name="Straight Connector 467"/>
            <p:cNvCxnSpPr/>
            <p:nvPr userDrawn="1"/>
          </p:nvCxnSpPr>
          <p:spPr>
            <a:xfrm>
              <a:off x="457200" y="7772400"/>
              <a:ext cx="1371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9" name="Straight Connector 468"/>
            <p:cNvCxnSpPr/>
            <p:nvPr userDrawn="1"/>
          </p:nvCxnSpPr>
          <p:spPr>
            <a:xfrm>
              <a:off x="0" y="41148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0" name="Straight Connector 469"/>
            <p:cNvCxnSpPr/>
            <p:nvPr userDrawn="1"/>
          </p:nvCxnSpPr>
          <p:spPr>
            <a:xfrm>
              <a:off x="0" y="20574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1" name="Straight Connector 470"/>
            <p:cNvCxnSpPr/>
            <p:nvPr userDrawn="1"/>
          </p:nvCxnSpPr>
          <p:spPr>
            <a:xfrm>
              <a:off x="0" y="61722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2" name="Straight Connector 471"/>
            <p:cNvCxnSpPr/>
            <p:nvPr userDrawn="1"/>
          </p:nvCxnSpPr>
          <p:spPr>
            <a:xfrm flipV="1">
              <a:off x="7315200" y="0"/>
              <a:ext cx="0" cy="822960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3" name="Straight Connector 472"/>
            <p:cNvCxnSpPr/>
            <p:nvPr userDrawn="1"/>
          </p:nvCxnSpPr>
          <p:spPr>
            <a:xfrm flipV="1">
              <a:off x="3657600" y="0"/>
              <a:ext cx="0" cy="8229295"/>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4" name="Straight Connector 473"/>
            <p:cNvCxnSpPr/>
            <p:nvPr userDrawn="1"/>
          </p:nvCxnSpPr>
          <p:spPr>
            <a:xfrm flipV="1">
              <a:off x="10972800" y="0"/>
              <a:ext cx="0" cy="822960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grpSp>
      <p:sp>
        <p:nvSpPr>
          <p:cNvPr id="7" name="Rectangle 6"/>
          <p:cNvSpPr/>
          <p:nvPr userDrawn="1"/>
        </p:nvSpPr>
        <p:spPr>
          <a:xfrm>
            <a:off x="4952969" y="780307"/>
            <a:ext cx="65" cy="153888"/>
          </a:xfrm>
          <a:prstGeom prst="rect">
            <a:avLst/>
          </a:prstGeom>
          <a:solidFill>
            <a:schemeClr val="tx1"/>
          </a:solidFill>
        </p:spPr>
        <p:txBody>
          <a:bodyPr wrap="none" lIns="0" tIns="0" rIns="0" bIns="0" rtlCol="0" anchor="ctr">
            <a:spAutoFit/>
          </a:bodyPr>
          <a:lstStyle/>
          <a:p>
            <a:pPr algn="ctr" defTabSz="804571" eaLnBrk="1" fontAlgn="auto" hangingPunct="1">
              <a:spcBef>
                <a:spcPts val="0"/>
              </a:spcBef>
              <a:spcAft>
                <a:spcPts val="0"/>
              </a:spcAft>
            </a:pPr>
            <a:endParaRPr lang="en-US" sz="1000" b="0" dirty="0">
              <a:solidFill>
                <a:srgbClr val="FFFFFF"/>
              </a:solidFill>
              <a:latin typeface="Arial Regular" charset="0"/>
              <a:ea typeface="+mn-ea"/>
            </a:endParaRPr>
          </a:p>
        </p:txBody>
      </p:sp>
      <p:cxnSp>
        <p:nvCxnSpPr>
          <p:cNvPr id="8" name="Straight Connector 7"/>
          <p:cNvCxnSpPr/>
          <p:nvPr userDrawn="1"/>
        </p:nvCxnSpPr>
        <p:spPr>
          <a:xfrm flipV="1">
            <a:off x="1547813"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flipV="1">
            <a:off x="37147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43338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49530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flipV="1">
            <a:off x="55721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68103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74295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80486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86677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flipV="1">
            <a:off x="99060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flipV="1">
            <a:off x="105251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V="1">
            <a:off x="111442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flipV="1">
            <a:off x="117633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619125" y="-2"/>
            <a:ext cx="0" cy="68580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flipV="1">
            <a:off x="928688"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flipV="1">
            <a:off x="1238250"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flipV="1">
            <a:off x="1857375"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flipV="1">
            <a:off x="2166938"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flipV="1">
            <a:off x="130016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V="1">
            <a:off x="136207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flipV="1">
            <a:off x="142398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148590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flipV="1">
            <a:off x="160972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flipV="1">
            <a:off x="167163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flipV="1">
            <a:off x="173355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flipV="1">
            <a:off x="179546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flipV="1">
            <a:off x="191928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flipV="1">
            <a:off x="198120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flipV="1">
            <a:off x="204311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flipV="1">
            <a:off x="210502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flipV="1">
            <a:off x="222885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flipV="1">
            <a:off x="229076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flipV="1">
            <a:off x="235267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flipV="1">
            <a:off x="241458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flipV="1">
            <a:off x="253841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260032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flipV="1">
            <a:off x="266223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flipV="1">
            <a:off x="272415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flipV="1">
            <a:off x="2786063"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userDrawn="1"/>
        </p:nvCxnSpPr>
        <p:spPr>
          <a:xfrm flipV="1">
            <a:off x="284797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userDrawn="1"/>
        </p:nvCxnSpPr>
        <p:spPr>
          <a:xfrm flipV="1">
            <a:off x="290988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userDrawn="1"/>
        </p:nvCxnSpPr>
        <p:spPr>
          <a:xfrm flipV="1">
            <a:off x="297180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userDrawn="1"/>
        </p:nvCxnSpPr>
        <p:spPr>
          <a:xfrm flipV="1">
            <a:off x="303371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userDrawn="1"/>
        </p:nvCxnSpPr>
        <p:spPr>
          <a:xfrm flipV="1">
            <a:off x="3095625"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flipV="1">
            <a:off x="315753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flipV="1">
            <a:off x="321945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userDrawn="1"/>
        </p:nvCxnSpPr>
        <p:spPr>
          <a:xfrm flipV="1">
            <a:off x="328136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userDrawn="1"/>
        </p:nvCxnSpPr>
        <p:spPr>
          <a:xfrm flipV="1">
            <a:off x="334327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userDrawn="1"/>
        </p:nvCxnSpPr>
        <p:spPr>
          <a:xfrm flipV="1">
            <a:off x="3405188"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userDrawn="1"/>
        </p:nvCxnSpPr>
        <p:spPr>
          <a:xfrm flipV="1">
            <a:off x="346710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userDrawn="1"/>
        </p:nvCxnSpPr>
        <p:spPr>
          <a:xfrm flipV="1">
            <a:off x="352901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userDrawn="1"/>
        </p:nvCxnSpPr>
        <p:spPr>
          <a:xfrm flipV="1">
            <a:off x="359092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userDrawn="1"/>
        </p:nvCxnSpPr>
        <p:spPr>
          <a:xfrm flipV="1">
            <a:off x="365283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userDrawn="1"/>
        </p:nvCxnSpPr>
        <p:spPr>
          <a:xfrm flipV="1">
            <a:off x="3714750"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userDrawn="1"/>
        </p:nvCxnSpPr>
        <p:spPr>
          <a:xfrm flipV="1">
            <a:off x="377666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userDrawn="1"/>
        </p:nvCxnSpPr>
        <p:spPr>
          <a:xfrm flipV="1">
            <a:off x="383857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userDrawn="1"/>
        </p:nvCxnSpPr>
        <p:spPr>
          <a:xfrm flipV="1">
            <a:off x="390048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userDrawn="1"/>
        </p:nvCxnSpPr>
        <p:spPr>
          <a:xfrm flipV="1">
            <a:off x="396240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userDrawn="1"/>
        </p:nvCxnSpPr>
        <p:spPr>
          <a:xfrm flipV="1">
            <a:off x="4024313"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userDrawn="1"/>
        </p:nvCxnSpPr>
        <p:spPr>
          <a:xfrm flipV="1">
            <a:off x="408622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userDrawn="1"/>
        </p:nvCxnSpPr>
        <p:spPr>
          <a:xfrm flipV="1">
            <a:off x="414813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userDrawn="1"/>
        </p:nvCxnSpPr>
        <p:spPr>
          <a:xfrm flipV="1">
            <a:off x="421005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userDrawn="1"/>
        </p:nvCxnSpPr>
        <p:spPr>
          <a:xfrm flipV="1">
            <a:off x="427196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userDrawn="1"/>
        </p:nvCxnSpPr>
        <p:spPr>
          <a:xfrm flipV="1">
            <a:off x="4333875"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userDrawn="1"/>
        </p:nvCxnSpPr>
        <p:spPr>
          <a:xfrm flipV="1">
            <a:off x="439578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userDrawn="1"/>
        </p:nvCxnSpPr>
        <p:spPr>
          <a:xfrm flipV="1">
            <a:off x="445770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userDrawn="1"/>
        </p:nvCxnSpPr>
        <p:spPr>
          <a:xfrm flipV="1">
            <a:off x="451961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userDrawn="1"/>
        </p:nvCxnSpPr>
        <p:spPr>
          <a:xfrm flipV="1">
            <a:off x="458152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userDrawn="1"/>
        </p:nvCxnSpPr>
        <p:spPr>
          <a:xfrm flipV="1">
            <a:off x="4643438"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userDrawn="1"/>
        </p:nvCxnSpPr>
        <p:spPr>
          <a:xfrm flipV="1">
            <a:off x="470535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userDrawn="1"/>
        </p:nvCxnSpPr>
        <p:spPr>
          <a:xfrm flipV="1">
            <a:off x="476726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userDrawn="1"/>
        </p:nvCxnSpPr>
        <p:spPr>
          <a:xfrm flipV="1">
            <a:off x="482917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userDrawn="1"/>
        </p:nvCxnSpPr>
        <p:spPr>
          <a:xfrm flipV="1">
            <a:off x="489108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userDrawn="1"/>
        </p:nvCxnSpPr>
        <p:spPr>
          <a:xfrm flipV="1">
            <a:off x="501491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userDrawn="1"/>
        </p:nvCxnSpPr>
        <p:spPr>
          <a:xfrm flipV="1">
            <a:off x="507682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userDrawn="1"/>
        </p:nvCxnSpPr>
        <p:spPr>
          <a:xfrm flipV="1">
            <a:off x="513873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userDrawn="1"/>
        </p:nvCxnSpPr>
        <p:spPr>
          <a:xfrm flipV="1">
            <a:off x="520065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userDrawn="1"/>
        </p:nvCxnSpPr>
        <p:spPr>
          <a:xfrm flipV="1">
            <a:off x="5262563"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userDrawn="1"/>
        </p:nvCxnSpPr>
        <p:spPr>
          <a:xfrm flipV="1">
            <a:off x="532447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userDrawn="1"/>
        </p:nvCxnSpPr>
        <p:spPr>
          <a:xfrm flipV="1">
            <a:off x="538638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p:cNvCxnSpPr/>
          <p:nvPr userDrawn="1"/>
        </p:nvCxnSpPr>
        <p:spPr>
          <a:xfrm flipV="1">
            <a:off x="544830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p:nvPr userDrawn="1"/>
        </p:nvCxnSpPr>
        <p:spPr>
          <a:xfrm flipV="1">
            <a:off x="551021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userDrawn="1"/>
        </p:nvCxnSpPr>
        <p:spPr>
          <a:xfrm flipV="1">
            <a:off x="5572125"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userDrawn="1"/>
        </p:nvCxnSpPr>
        <p:spPr>
          <a:xfrm flipV="1">
            <a:off x="563403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userDrawn="1"/>
        </p:nvCxnSpPr>
        <p:spPr>
          <a:xfrm flipV="1">
            <a:off x="569595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userDrawn="1"/>
        </p:nvCxnSpPr>
        <p:spPr>
          <a:xfrm flipV="1">
            <a:off x="575786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userDrawn="1"/>
        </p:nvCxnSpPr>
        <p:spPr>
          <a:xfrm flipV="1">
            <a:off x="581977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userDrawn="1"/>
        </p:nvCxnSpPr>
        <p:spPr>
          <a:xfrm flipV="1">
            <a:off x="5881688"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userDrawn="1"/>
        </p:nvCxnSpPr>
        <p:spPr>
          <a:xfrm flipV="1">
            <a:off x="594360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userDrawn="1"/>
        </p:nvCxnSpPr>
        <p:spPr>
          <a:xfrm flipV="1">
            <a:off x="600551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userDrawn="1"/>
        </p:nvCxnSpPr>
        <p:spPr>
          <a:xfrm flipV="1">
            <a:off x="606742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p:cNvCxnSpPr/>
          <p:nvPr userDrawn="1"/>
        </p:nvCxnSpPr>
        <p:spPr>
          <a:xfrm flipV="1">
            <a:off x="612933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p:cNvCxnSpPr/>
          <p:nvPr userDrawn="1"/>
        </p:nvCxnSpPr>
        <p:spPr>
          <a:xfrm flipV="1">
            <a:off x="6191250"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p:cNvCxnSpPr/>
          <p:nvPr userDrawn="1"/>
        </p:nvCxnSpPr>
        <p:spPr>
          <a:xfrm flipV="1">
            <a:off x="625316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p:cNvCxnSpPr/>
          <p:nvPr userDrawn="1"/>
        </p:nvCxnSpPr>
        <p:spPr>
          <a:xfrm flipV="1">
            <a:off x="631507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p:cNvCxnSpPr/>
          <p:nvPr userDrawn="1"/>
        </p:nvCxnSpPr>
        <p:spPr>
          <a:xfrm flipV="1">
            <a:off x="637698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p:cNvCxnSpPr/>
          <p:nvPr userDrawn="1"/>
        </p:nvCxnSpPr>
        <p:spPr>
          <a:xfrm flipV="1">
            <a:off x="643890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p:nvPr userDrawn="1"/>
        </p:nvCxnSpPr>
        <p:spPr>
          <a:xfrm flipV="1">
            <a:off x="6500813"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p:nvPr userDrawn="1"/>
        </p:nvCxnSpPr>
        <p:spPr>
          <a:xfrm flipV="1">
            <a:off x="656272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userDrawn="1"/>
        </p:nvCxnSpPr>
        <p:spPr>
          <a:xfrm flipV="1">
            <a:off x="662463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userDrawn="1"/>
        </p:nvCxnSpPr>
        <p:spPr>
          <a:xfrm flipV="1">
            <a:off x="668655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userDrawn="1"/>
        </p:nvCxnSpPr>
        <p:spPr>
          <a:xfrm flipV="1">
            <a:off x="674846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p:cNvCxnSpPr/>
          <p:nvPr userDrawn="1"/>
        </p:nvCxnSpPr>
        <p:spPr>
          <a:xfrm flipV="1">
            <a:off x="6810375"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p:cNvCxnSpPr/>
          <p:nvPr userDrawn="1"/>
        </p:nvCxnSpPr>
        <p:spPr>
          <a:xfrm flipV="1">
            <a:off x="687228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p:cNvCxnSpPr/>
          <p:nvPr userDrawn="1"/>
        </p:nvCxnSpPr>
        <p:spPr>
          <a:xfrm flipV="1">
            <a:off x="693420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p:cNvCxnSpPr/>
          <p:nvPr userDrawn="1"/>
        </p:nvCxnSpPr>
        <p:spPr>
          <a:xfrm flipV="1">
            <a:off x="699611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p:cNvCxnSpPr/>
          <p:nvPr userDrawn="1"/>
        </p:nvCxnSpPr>
        <p:spPr>
          <a:xfrm flipV="1">
            <a:off x="705802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p:cNvCxnSpPr/>
          <p:nvPr userDrawn="1"/>
        </p:nvCxnSpPr>
        <p:spPr>
          <a:xfrm flipV="1">
            <a:off x="7119938"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p:cNvCxnSpPr/>
          <p:nvPr userDrawn="1"/>
        </p:nvCxnSpPr>
        <p:spPr>
          <a:xfrm flipV="1">
            <a:off x="718185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p:cNvCxnSpPr/>
          <p:nvPr userDrawn="1"/>
        </p:nvCxnSpPr>
        <p:spPr>
          <a:xfrm flipV="1">
            <a:off x="724376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p:cNvCxnSpPr/>
          <p:nvPr userDrawn="1"/>
        </p:nvCxnSpPr>
        <p:spPr>
          <a:xfrm flipV="1">
            <a:off x="730567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p:cNvCxnSpPr/>
          <p:nvPr userDrawn="1"/>
        </p:nvCxnSpPr>
        <p:spPr>
          <a:xfrm flipV="1">
            <a:off x="736758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p:cNvCxnSpPr/>
          <p:nvPr userDrawn="1"/>
        </p:nvCxnSpPr>
        <p:spPr>
          <a:xfrm flipV="1">
            <a:off x="749141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p:cNvCxnSpPr/>
          <p:nvPr userDrawn="1"/>
        </p:nvCxnSpPr>
        <p:spPr>
          <a:xfrm flipV="1">
            <a:off x="755332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p:cNvCxnSpPr/>
          <p:nvPr userDrawn="1"/>
        </p:nvCxnSpPr>
        <p:spPr>
          <a:xfrm flipV="1">
            <a:off x="761523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p:cNvCxnSpPr/>
          <p:nvPr userDrawn="1"/>
        </p:nvCxnSpPr>
        <p:spPr>
          <a:xfrm flipV="1">
            <a:off x="767715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p:cNvCxnSpPr/>
          <p:nvPr userDrawn="1"/>
        </p:nvCxnSpPr>
        <p:spPr>
          <a:xfrm flipV="1">
            <a:off x="7739063"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p:cNvCxnSpPr/>
          <p:nvPr userDrawn="1"/>
        </p:nvCxnSpPr>
        <p:spPr>
          <a:xfrm flipV="1">
            <a:off x="780097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p:cNvCxnSpPr/>
          <p:nvPr userDrawn="1"/>
        </p:nvCxnSpPr>
        <p:spPr>
          <a:xfrm flipV="1">
            <a:off x="786288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p:cNvCxnSpPr/>
          <p:nvPr userDrawn="1"/>
        </p:nvCxnSpPr>
        <p:spPr>
          <a:xfrm flipV="1">
            <a:off x="792480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p:cNvCxnSpPr/>
          <p:nvPr userDrawn="1"/>
        </p:nvCxnSpPr>
        <p:spPr>
          <a:xfrm flipV="1">
            <a:off x="798671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p:cNvCxnSpPr/>
          <p:nvPr userDrawn="1"/>
        </p:nvCxnSpPr>
        <p:spPr>
          <a:xfrm flipV="1">
            <a:off x="8048625"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p:cNvCxnSpPr/>
          <p:nvPr userDrawn="1"/>
        </p:nvCxnSpPr>
        <p:spPr>
          <a:xfrm flipV="1">
            <a:off x="811053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p:cNvCxnSpPr/>
          <p:nvPr userDrawn="1"/>
        </p:nvCxnSpPr>
        <p:spPr>
          <a:xfrm flipV="1">
            <a:off x="817245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p:cNvCxnSpPr/>
          <p:nvPr userDrawn="1"/>
        </p:nvCxnSpPr>
        <p:spPr>
          <a:xfrm flipV="1">
            <a:off x="823436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p:cNvCxnSpPr/>
          <p:nvPr userDrawn="1"/>
        </p:nvCxnSpPr>
        <p:spPr>
          <a:xfrm flipV="1">
            <a:off x="829627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p:cNvCxnSpPr/>
          <p:nvPr userDrawn="1"/>
        </p:nvCxnSpPr>
        <p:spPr>
          <a:xfrm flipV="1">
            <a:off x="8358188"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35" name="Straight Connector 134"/>
          <p:cNvCxnSpPr/>
          <p:nvPr userDrawn="1"/>
        </p:nvCxnSpPr>
        <p:spPr>
          <a:xfrm flipV="1">
            <a:off x="842010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p:cNvCxnSpPr/>
          <p:nvPr userDrawn="1"/>
        </p:nvCxnSpPr>
        <p:spPr>
          <a:xfrm flipV="1">
            <a:off x="848201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7" name="Straight Connector 136"/>
          <p:cNvCxnSpPr/>
          <p:nvPr userDrawn="1"/>
        </p:nvCxnSpPr>
        <p:spPr>
          <a:xfrm flipV="1">
            <a:off x="854392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p:cNvCxnSpPr/>
          <p:nvPr userDrawn="1"/>
        </p:nvCxnSpPr>
        <p:spPr>
          <a:xfrm flipV="1">
            <a:off x="860583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9" name="Straight Connector 138"/>
          <p:cNvCxnSpPr/>
          <p:nvPr userDrawn="1"/>
        </p:nvCxnSpPr>
        <p:spPr>
          <a:xfrm flipV="1">
            <a:off x="8667750"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p:cNvCxnSpPr/>
          <p:nvPr userDrawn="1"/>
        </p:nvCxnSpPr>
        <p:spPr>
          <a:xfrm flipV="1">
            <a:off x="872966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p:cNvCxnSpPr/>
          <p:nvPr userDrawn="1"/>
        </p:nvCxnSpPr>
        <p:spPr>
          <a:xfrm flipV="1">
            <a:off x="879157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p:cNvCxnSpPr/>
          <p:nvPr userDrawn="1"/>
        </p:nvCxnSpPr>
        <p:spPr>
          <a:xfrm flipV="1">
            <a:off x="885348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p:cNvCxnSpPr/>
          <p:nvPr userDrawn="1"/>
        </p:nvCxnSpPr>
        <p:spPr>
          <a:xfrm flipV="1">
            <a:off x="891540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p:cNvCxnSpPr/>
          <p:nvPr userDrawn="1"/>
        </p:nvCxnSpPr>
        <p:spPr>
          <a:xfrm flipV="1">
            <a:off x="8977313"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p:cNvCxnSpPr/>
          <p:nvPr userDrawn="1"/>
        </p:nvCxnSpPr>
        <p:spPr>
          <a:xfrm flipV="1">
            <a:off x="903922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p:cNvCxnSpPr/>
          <p:nvPr userDrawn="1"/>
        </p:nvCxnSpPr>
        <p:spPr>
          <a:xfrm flipV="1">
            <a:off x="910113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p:cNvCxnSpPr/>
          <p:nvPr userDrawn="1"/>
        </p:nvCxnSpPr>
        <p:spPr>
          <a:xfrm flipV="1">
            <a:off x="916305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p:cNvCxnSpPr/>
          <p:nvPr userDrawn="1"/>
        </p:nvCxnSpPr>
        <p:spPr>
          <a:xfrm flipV="1">
            <a:off x="922496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p:cNvCxnSpPr/>
          <p:nvPr userDrawn="1"/>
        </p:nvCxnSpPr>
        <p:spPr>
          <a:xfrm flipV="1">
            <a:off x="9286875" y="0"/>
            <a:ext cx="0" cy="68580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p:cNvCxnSpPr/>
          <p:nvPr userDrawn="1"/>
        </p:nvCxnSpPr>
        <p:spPr>
          <a:xfrm flipV="1">
            <a:off x="9348788"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p:cNvCxnSpPr/>
          <p:nvPr userDrawn="1"/>
        </p:nvCxnSpPr>
        <p:spPr>
          <a:xfrm flipV="1">
            <a:off x="9410700"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p:cNvCxnSpPr/>
          <p:nvPr userDrawn="1"/>
        </p:nvCxnSpPr>
        <p:spPr>
          <a:xfrm flipV="1">
            <a:off x="9472613"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p:cNvCxnSpPr/>
          <p:nvPr userDrawn="1"/>
        </p:nvCxnSpPr>
        <p:spPr>
          <a:xfrm flipV="1">
            <a:off x="9534525"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p:cNvCxnSpPr/>
          <p:nvPr userDrawn="1"/>
        </p:nvCxnSpPr>
        <p:spPr>
          <a:xfrm>
            <a:off x="0" y="762000"/>
            <a:ext cx="990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5" name="Straight Connector 154"/>
          <p:cNvCxnSpPr/>
          <p:nvPr userDrawn="1"/>
        </p:nvCxnSpPr>
        <p:spPr>
          <a:xfrm>
            <a:off x="309563" y="4572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p:cNvCxnSpPr/>
          <p:nvPr userDrawn="1"/>
        </p:nvCxnSpPr>
        <p:spPr>
          <a:xfrm>
            <a:off x="309563" y="5334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7" name="Straight Connector 156"/>
          <p:cNvCxnSpPr/>
          <p:nvPr userDrawn="1"/>
        </p:nvCxnSpPr>
        <p:spPr>
          <a:xfrm>
            <a:off x="309563" y="609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p:cNvCxnSpPr/>
          <p:nvPr userDrawn="1"/>
        </p:nvCxnSpPr>
        <p:spPr>
          <a:xfrm>
            <a:off x="309563" y="6858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9" name="Straight Connector 158"/>
          <p:cNvCxnSpPr/>
          <p:nvPr userDrawn="1"/>
        </p:nvCxnSpPr>
        <p:spPr>
          <a:xfrm>
            <a:off x="0" y="1143000"/>
            <a:ext cx="990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p:cNvCxnSpPr/>
          <p:nvPr userDrawn="1"/>
        </p:nvCxnSpPr>
        <p:spPr>
          <a:xfrm>
            <a:off x="309563" y="8382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1" name="Straight Connector 160"/>
          <p:cNvCxnSpPr/>
          <p:nvPr userDrawn="1"/>
        </p:nvCxnSpPr>
        <p:spPr>
          <a:xfrm>
            <a:off x="309563" y="9144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p:cNvCxnSpPr/>
          <p:nvPr userDrawn="1"/>
        </p:nvCxnSpPr>
        <p:spPr>
          <a:xfrm>
            <a:off x="309563" y="990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3" name="Straight Connector 162"/>
          <p:cNvCxnSpPr/>
          <p:nvPr userDrawn="1"/>
        </p:nvCxnSpPr>
        <p:spPr>
          <a:xfrm>
            <a:off x="309563" y="10668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4" name="Straight Connector 163"/>
          <p:cNvCxnSpPr/>
          <p:nvPr userDrawn="1"/>
        </p:nvCxnSpPr>
        <p:spPr>
          <a:xfrm>
            <a:off x="0" y="1524000"/>
            <a:ext cx="990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p:cNvCxnSpPr/>
          <p:nvPr userDrawn="1"/>
        </p:nvCxnSpPr>
        <p:spPr>
          <a:xfrm>
            <a:off x="309563" y="12192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6" name="Straight Connector 165"/>
          <p:cNvCxnSpPr/>
          <p:nvPr userDrawn="1"/>
        </p:nvCxnSpPr>
        <p:spPr>
          <a:xfrm>
            <a:off x="309563" y="12954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userDrawn="1"/>
        </p:nvCxnSpPr>
        <p:spPr>
          <a:xfrm>
            <a:off x="309563" y="1371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8" name="Straight Connector 167"/>
          <p:cNvCxnSpPr/>
          <p:nvPr userDrawn="1"/>
        </p:nvCxnSpPr>
        <p:spPr>
          <a:xfrm>
            <a:off x="309563" y="14478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9" name="Straight Connector 168"/>
          <p:cNvCxnSpPr/>
          <p:nvPr userDrawn="1"/>
        </p:nvCxnSpPr>
        <p:spPr>
          <a:xfrm>
            <a:off x="0" y="1905000"/>
            <a:ext cx="990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0" name="Straight Connector 169"/>
          <p:cNvCxnSpPr/>
          <p:nvPr userDrawn="1"/>
        </p:nvCxnSpPr>
        <p:spPr>
          <a:xfrm>
            <a:off x="309563" y="16002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1" name="Straight Connector 170"/>
          <p:cNvCxnSpPr/>
          <p:nvPr userDrawn="1"/>
        </p:nvCxnSpPr>
        <p:spPr>
          <a:xfrm>
            <a:off x="309563" y="16764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2" name="Straight Connector 171"/>
          <p:cNvCxnSpPr/>
          <p:nvPr userDrawn="1"/>
        </p:nvCxnSpPr>
        <p:spPr>
          <a:xfrm>
            <a:off x="309563" y="1752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3" name="Straight Connector 172"/>
          <p:cNvCxnSpPr/>
          <p:nvPr userDrawn="1"/>
        </p:nvCxnSpPr>
        <p:spPr>
          <a:xfrm>
            <a:off x="309563" y="18288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4" name="Straight Connector 173"/>
          <p:cNvCxnSpPr/>
          <p:nvPr userDrawn="1"/>
        </p:nvCxnSpPr>
        <p:spPr>
          <a:xfrm>
            <a:off x="0" y="2286000"/>
            <a:ext cx="990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5" name="Straight Connector 174"/>
          <p:cNvCxnSpPr/>
          <p:nvPr userDrawn="1"/>
        </p:nvCxnSpPr>
        <p:spPr>
          <a:xfrm>
            <a:off x="309563" y="19812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6" name="Straight Connector 175"/>
          <p:cNvCxnSpPr/>
          <p:nvPr userDrawn="1"/>
        </p:nvCxnSpPr>
        <p:spPr>
          <a:xfrm>
            <a:off x="309563" y="20574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7" name="Straight Connector 176"/>
          <p:cNvCxnSpPr/>
          <p:nvPr userDrawn="1"/>
        </p:nvCxnSpPr>
        <p:spPr>
          <a:xfrm>
            <a:off x="309563" y="2133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8" name="Straight Connector 177"/>
          <p:cNvCxnSpPr/>
          <p:nvPr userDrawn="1"/>
        </p:nvCxnSpPr>
        <p:spPr>
          <a:xfrm>
            <a:off x="309563" y="22098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9" name="Straight Connector 178"/>
          <p:cNvCxnSpPr/>
          <p:nvPr userDrawn="1"/>
        </p:nvCxnSpPr>
        <p:spPr>
          <a:xfrm>
            <a:off x="0" y="2667000"/>
            <a:ext cx="990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0" name="Straight Connector 179"/>
          <p:cNvCxnSpPr/>
          <p:nvPr userDrawn="1"/>
        </p:nvCxnSpPr>
        <p:spPr>
          <a:xfrm>
            <a:off x="309563" y="23622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1" name="Straight Connector 180"/>
          <p:cNvCxnSpPr/>
          <p:nvPr userDrawn="1"/>
        </p:nvCxnSpPr>
        <p:spPr>
          <a:xfrm>
            <a:off x="309563" y="24384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2" name="Straight Connector 181"/>
          <p:cNvCxnSpPr/>
          <p:nvPr userDrawn="1"/>
        </p:nvCxnSpPr>
        <p:spPr>
          <a:xfrm>
            <a:off x="309563" y="2514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3" name="Straight Connector 182"/>
          <p:cNvCxnSpPr/>
          <p:nvPr userDrawn="1"/>
        </p:nvCxnSpPr>
        <p:spPr>
          <a:xfrm>
            <a:off x="309563" y="25908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4" name="Straight Connector 183"/>
          <p:cNvCxnSpPr/>
          <p:nvPr userDrawn="1"/>
        </p:nvCxnSpPr>
        <p:spPr>
          <a:xfrm>
            <a:off x="0" y="3048000"/>
            <a:ext cx="990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5" name="Straight Connector 184"/>
          <p:cNvCxnSpPr/>
          <p:nvPr userDrawn="1"/>
        </p:nvCxnSpPr>
        <p:spPr>
          <a:xfrm>
            <a:off x="309563" y="27432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6" name="Straight Connector 185"/>
          <p:cNvCxnSpPr/>
          <p:nvPr userDrawn="1"/>
        </p:nvCxnSpPr>
        <p:spPr>
          <a:xfrm>
            <a:off x="309563" y="28194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7" name="Straight Connector 186"/>
          <p:cNvCxnSpPr/>
          <p:nvPr userDrawn="1"/>
        </p:nvCxnSpPr>
        <p:spPr>
          <a:xfrm>
            <a:off x="309563" y="2895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8" name="Straight Connector 187"/>
          <p:cNvCxnSpPr/>
          <p:nvPr userDrawn="1"/>
        </p:nvCxnSpPr>
        <p:spPr>
          <a:xfrm>
            <a:off x="309563" y="29718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9" name="Straight Connector 188"/>
          <p:cNvCxnSpPr/>
          <p:nvPr userDrawn="1"/>
        </p:nvCxnSpPr>
        <p:spPr>
          <a:xfrm>
            <a:off x="309563" y="31242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0" name="Straight Connector 189"/>
          <p:cNvCxnSpPr/>
          <p:nvPr userDrawn="1"/>
        </p:nvCxnSpPr>
        <p:spPr>
          <a:xfrm>
            <a:off x="309563" y="32004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1" name="Straight Connector 190"/>
          <p:cNvCxnSpPr/>
          <p:nvPr userDrawn="1"/>
        </p:nvCxnSpPr>
        <p:spPr>
          <a:xfrm>
            <a:off x="309563" y="3276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2" name="Straight Connector 191"/>
          <p:cNvCxnSpPr/>
          <p:nvPr userDrawn="1"/>
        </p:nvCxnSpPr>
        <p:spPr>
          <a:xfrm>
            <a:off x="309563" y="33528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3" name="Straight Connector 192"/>
          <p:cNvCxnSpPr/>
          <p:nvPr userDrawn="1"/>
        </p:nvCxnSpPr>
        <p:spPr>
          <a:xfrm>
            <a:off x="0" y="3810000"/>
            <a:ext cx="990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94" name="Straight Connector 193"/>
          <p:cNvCxnSpPr/>
          <p:nvPr userDrawn="1"/>
        </p:nvCxnSpPr>
        <p:spPr>
          <a:xfrm>
            <a:off x="309563" y="35052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5" name="Straight Connector 194"/>
          <p:cNvCxnSpPr/>
          <p:nvPr userDrawn="1"/>
        </p:nvCxnSpPr>
        <p:spPr>
          <a:xfrm>
            <a:off x="309563" y="35814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6" name="Straight Connector 195"/>
          <p:cNvCxnSpPr/>
          <p:nvPr userDrawn="1"/>
        </p:nvCxnSpPr>
        <p:spPr>
          <a:xfrm>
            <a:off x="309563" y="3657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7" name="Straight Connector 196"/>
          <p:cNvCxnSpPr/>
          <p:nvPr userDrawn="1"/>
        </p:nvCxnSpPr>
        <p:spPr>
          <a:xfrm>
            <a:off x="309563" y="37338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8" name="Straight Connector 197"/>
          <p:cNvCxnSpPr/>
          <p:nvPr userDrawn="1"/>
        </p:nvCxnSpPr>
        <p:spPr>
          <a:xfrm>
            <a:off x="0" y="4191000"/>
            <a:ext cx="990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99" name="Straight Connector 198"/>
          <p:cNvCxnSpPr/>
          <p:nvPr userDrawn="1"/>
        </p:nvCxnSpPr>
        <p:spPr>
          <a:xfrm>
            <a:off x="309563" y="38862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0" name="Straight Connector 199"/>
          <p:cNvCxnSpPr/>
          <p:nvPr userDrawn="1"/>
        </p:nvCxnSpPr>
        <p:spPr>
          <a:xfrm>
            <a:off x="309563" y="39624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1" name="Straight Connector 200"/>
          <p:cNvCxnSpPr/>
          <p:nvPr userDrawn="1"/>
        </p:nvCxnSpPr>
        <p:spPr>
          <a:xfrm>
            <a:off x="309563" y="4038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2" name="Straight Connector 201"/>
          <p:cNvCxnSpPr/>
          <p:nvPr userDrawn="1"/>
        </p:nvCxnSpPr>
        <p:spPr>
          <a:xfrm>
            <a:off x="309563" y="41148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3" name="Straight Connector 202"/>
          <p:cNvCxnSpPr/>
          <p:nvPr userDrawn="1"/>
        </p:nvCxnSpPr>
        <p:spPr>
          <a:xfrm>
            <a:off x="0" y="4572000"/>
            <a:ext cx="990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userDrawn="1"/>
        </p:nvCxnSpPr>
        <p:spPr>
          <a:xfrm>
            <a:off x="309563" y="42672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userDrawn="1"/>
        </p:nvCxnSpPr>
        <p:spPr>
          <a:xfrm>
            <a:off x="309563" y="43434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userDrawn="1"/>
        </p:nvCxnSpPr>
        <p:spPr>
          <a:xfrm>
            <a:off x="309563" y="4419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userDrawn="1"/>
        </p:nvCxnSpPr>
        <p:spPr>
          <a:xfrm>
            <a:off x="309563" y="44958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8" name="Straight Connector 207"/>
          <p:cNvCxnSpPr/>
          <p:nvPr userDrawn="1"/>
        </p:nvCxnSpPr>
        <p:spPr>
          <a:xfrm>
            <a:off x="0" y="4953000"/>
            <a:ext cx="990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09" name="Straight Connector 208"/>
          <p:cNvCxnSpPr/>
          <p:nvPr userDrawn="1"/>
        </p:nvCxnSpPr>
        <p:spPr>
          <a:xfrm>
            <a:off x="309563" y="46482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0" name="Straight Connector 209"/>
          <p:cNvCxnSpPr/>
          <p:nvPr userDrawn="1"/>
        </p:nvCxnSpPr>
        <p:spPr>
          <a:xfrm>
            <a:off x="309563" y="47244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1" name="Straight Connector 210"/>
          <p:cNvCxnSpPr/>
          <p:nvPr userDrawn="1"/>
        </p:nvCxnSpPr>
        <p:spPr>
          <a:xfrm>
            <a:off x="309563" y="4800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2" name="Straight Connector 211"/>
          <p:cNvCxnSpPr/>
          <p:nvPr userDrawn="1"/>
        </p:nvCxnSpPr>
        <p:spPr>
          <a:xfrm>
            <a:off x="309563" y="48768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3" name="Straight Connector 212"/>
          <p:cNvCxnSpPr/>
          <p:nvPr userDrawn="1"/>
        </p:nvCxnSpPr>
        <p:spPr>
          <a:xfrm>
            <a:off x="0" y="5334000"/>
            <a:ext cx="990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4" name="Straight Connector 213"/>
          <p:cNvCxnSpPr/>
          <p:nvPr userDrawn="1"/>
        </p:nvCxnSpPr>
        <p:spPr>
          <a:xfrm>
            <a:off x="309563" y="50292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5" name="Straight Connector 214"/>
          <p:cNvCxnSpPr/>
          <p:nvPr userDrawn="1"/>
        </p:nvCxnSpPr>
        <p:spPr>
          <a:xfrm>
            <a:off x="309563" y="51054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6" name="Straight Connector 215"/>
          <p:cNvCxnSpPr/>
          <p:nvPr userDrawn="1"/>
        </p:nvCxnSpPr>
        <p:spPr>
          <a:xfrm>
            <a:off x="309563" y="5181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7" name="Straight Connector 216"/>
          <p:cNvCxnSpPr/>
          <p:nvPr userDrawn="1"/>
        </p:nvCxnSpPr>
        <p:spPr>
          <a:xfrm>
            <a:off x="309563" y="52578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8" name="Straight Connector 217"/>
          <p:cNvCxnSpPr/>
          <p:nvPr userDrawn="1"/>
        </p:nvCxnSpPr>
        <p:spPr>
          <a:xfrm>
            <a:off x="0" y="5715000"/>
            <a:ext cx="990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9" name="Straight Connector 218"/>
          <p:cNvCxnSpPr/>
          <p:nvPr userDrawn="1"/>
        </p:nvCxnSpPr>
        <p:spPr>
          <a:xfrm>
            <a:off x="309563" y="54102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0" name="Straight Connector 219"/>
          <p:cNvCxnSpPr/>
          <p:nvPr userDrawn="1"/>
        </p:nvCxnSpPr>
        <p:spPr>
          <a:xfrm>
            <a:off x="309563" y="54864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1" name="Straight Connector 220"/>
          <p:cNvCxnSpPr/>
          <p:nvPr userDrawn="1"/>
        </p:nvCxnSpPr>
        <p:spPr>
          <a:xfrm>
            <a:off x="309563" y="5562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2" name="Straight Connector 221"/>
          <p:cNvCxnSpPr/>
          <p:nvPr userDrawn="1"/>
        </p:nvCxnSpPr>
        <p:spPr>
          <a:xfrm>
            <a:off x="309563" y="56388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3" name="Straight Connector 222"/>
          <p:cNvCxnSpPr/>
          <p:nvPr userDrawn="1"/>
        </p:nvCxnSpPr>
        <p:spPr>
          <a:xfrm>
            <a:off x="0" y="6096000"/>
            <a:ext cx="990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24" name="Straight Connector 223"/>
          <p:cNvCxnSpPr/>
          <p:nvPr userDrawn="1"/>
        </p:nvCxnSpPr>
        <p:spPr>
          <a:xfrm>
            <a:off x="309563" y="57912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5" name="Straight Connector 224"/>
          <p:cNvCxnSpPr/>
          <p:nvPr userDrawn="1"/>
        </p:nvCxnSpPr>
        <p:spPr>
          <a:xfrm>
            <a:off x="309563" y="58674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6" name="Straight Connector 225"/>
          <p:cNvCxnSpPr/>
          <p:nvPr userDrawn="1"/>
        </p:nvCxnSpPr>
        <p:spPr>
          <a:xfrm>
            <a:off x="309563" y="5943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7" name="Straight Connector 226"/>
          <p:cNvCxnSpPr/>
          <p:nvPr userDrawn="1"/>
        </p:nvCxnSpPr>
        <p:spPr>
          <a:xfrm>
            <a:off x="309563" y="60198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8" name="Straight Connector 227"/>
          <p:cNvCxnSpPr/>
          <p:nvPr userDrawn="1"/>
        </p:nvCxnSpPr>
        <p:spPr>
          <a:xfrm>
            <a:off x="309563" y="61722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9" name="Straight Connector 228"/>
          <p:cNvCxnSpPr/>
          <p:nvPr userDrawn="1"/>
        </p:nvCxnSpPr>
        <p:spPr>
          <a:xfrm>
            <a:off x="309563" y="62484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0" name="Straight Connector 229"/>
          <p:cNvCxnSpPr/>
          <p:nvPr userDrawn="1"/>
        </p:nvCxnSpPr>
        <p:spPr>
          <a:xfrm>
            <a:off x="309563" y="6324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1" name="Straight Connector 230"/>
          <p:cNvCxnSpPr/>
          <p:nvPr userDrawn="1"/>
        </p:nvCxnSpPr>
        <p:spPr>
          <a:xfrm>
            <a:off x="309563" y="64008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2" name="Straight Connector 231"/>
          <p:cNvCxnSpPr/>
          <p:nvPr userDrawn="1"/>
        </p:nvCxnSpPr>
        <p:spPr>
          <a:xfrm>
            <a:off x="309563" y="67056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3" name="Straight Connector 232"/>
          <p:cNvCxnSpPr/>
          <p:nvPr userDrawn="1"/>
        </p:nvCxnSpPr>
        <p:spPr>
          <a:xfrm flipV="1">
            <a:off x="3405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4" name="Straight Connector 233"/>
          <p:cNvCxnSpPr/>
          <p:nvPr userDrawn="1"/>
        </p:nvCxnSpPr>
        <p:spPr>
          <a:xfrm flipV="1">
            <a:off x="4024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5" name="Straight Connector 234"/>
          <p:cNvCxnSpPr/>
          <p:nvPr userDrawn="1"/>
        </p:nvCxnSpPr>
        <p:spPr>
          <a:xfrm flipV="1">
            <a:off x="4643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6" name="Straight Connector 235"/>
          <p:cNvCxnSpPr/>
          <p:nvPr userDrawn="1"/>
        </p:nvCxnSpPr>
        <p:spPr>
          <a:xfrm flipV="1">
            <a:off x="5262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7" name="Straight Connector 236"/>
          <p:cNvCxnSpPr/>
          <p:nvPr userDrawn="1"/>
        </p:nvCxnSpPr>
        <p:spPr>
          <a:xfrm flipV="1">
            <a:off x="5881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8" name="Straight Connector 237"/>
          <p:cNvCxnSpPr/>
          <p:nvPr userDrawn="1"/>
        </p:nvCxnSpPr>
        <p:spPr>
          <a:xfrm flipV="1">
            <a:off x="6500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9" name="Straight Connector 238"/>
          <p:cNvCxnSpPr/>
          <p:nvPr userDrawn="1"/>
        </p:nvCxnSpPr>
        <p:spPr>
          <a:xfrm flipV="1">
            <a:off x="7119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0" name="Straight Connector 239"/>
          <p:cNvCxnSpPr/>
          <p:nvPr userDrawn="1"/>
        </p:nvCxnSpPr>
        <p:spPr>
          <a:xfrm flipV="1">
            <a:off x="7739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1" name="Straight Connector 240"/>
          <p:cNvCxnSpPr/>
          <p:nvPr userDrawn="1"/>
        </p:nvCxnSpPr>
        <p:spPr>
          <a:xfrm flipV="1">
            <a:off x="8358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2" name="Straight Connector 241"/>
          <p:cNvCxnSpPr/>
          <p:nvPr userDrawn="1"/>
        </p:nvCxnSpPr>
        <p:spPr>
          <a:xfrm flipV="1">
            <a:off x="8977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3" name="Straight Connector 242"/>
          <p:cNvCxnSpPr/>
          <p:nvPr userDrawn="1"/>
        </p:nvCxnSpPr>
        <p:spPr>
          <a:xfrm flipV="1">
            <a:off x="9596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4" name="Straight Connector 243"/>
          <p:cNvCxnSpPr/>
          <p:nvPr userDrawn="1"/>
        </p:nvCxnSpPr>
        <p:spPr>
          <a:xfrm flipV="1">
            <a:off x="10215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5" name="Straight Connector 244"/>
          <p:cNvCxnSpPr/>
          <p:nvPr userDrawn="1"/>
        </p:nvCxnSpPr>
        <p:spPr>
          <a:xfrm flipV="1">
            <a:off x="10834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6" name="Straight Connector 245"/>
          <p:cNvCxnSpPr/>
          <p:nvPr userDrawn="1"/>
        </p:nvCxnSpPr>
        <p:spPr>
          <a:xfrm flipV="1">
            <a:off x="11453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7" name="Straight Connector 246"/>
          <p:cNvCxnSpPr/>
          <p:nvPr userDrawn="1"/>
        </p:nvCxnSpPr>
        <p:spPr>
          <a:xfrm flipV="1">
            <a:off x="12072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8" name="Straight Connector 247"/>
          <p:cNvCxnSpPr/>
          <p:nvPr userDrawn="1"/>
        </p:nvCxnSpPr>
        <p:spPr>
          <a:xfrm flipV="1">
            <a:off x="12692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9" name="Straight Connector 248"/>
          <p:cNvCxnSpPr/>
          <p:nvPr userDrawn="1"/>
        </p:nvCxnSpPr>
        <p:spPr>
          <a:xfrm flipV="1">
            <a:off x="13311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0" name="Straight Connector 249"/>
          <p:cNvCxnSpPr/>
          <p:nvPr userDrawn="1"/>
        </p:nvCxnSpPr>
        <p:spPr>
          <a:xfrm flipV="1">
            <a:off x="13930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1" name="Straight Connector 250"/>
          <p:cNvCxnSpPr/>
          <p:nvPr userDrawn="1"/>
        </p:nvCxnSpPr>
        <p:spPr>
          <a:xfrm flipV="1">
            <a:off x="14549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2" name="Straight Connector 251"/>
          <p:cNvCxnSpPr/>
          <p:nvPr userDrawn="1"/>
        </p:nvCxnSpPr>
        <p:spPr>
          <a:xfrm flipV="1">
            <a:off x="15168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3" name="Straight Connector 252"/>
          <p:cNvCxnSpPr/>
          <p:nvPr userDrawn="1"/>
        </p:nvCxnSpPr>
        <p:spPr>
          <a:xfrm flipV="1">
            <a:off x="15787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4" name="Straight Connector 253"/>
          <p:cNvCxnSpPr/>
          <p:nvPr userDrawn="1"/>
        </p:nvCxnSpPr>
        <p:spPr>
          <a:xfrm flipV="1">
            <a:off x="16406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5" name="Straight Connector 254"/>
          <p:cNvCxnSpPr/>
          <p:nvPr userDrawn="1"/>
        </p:nvCxnSpPr>
        <p:spPr>
          <a:xfrm flipV="1">
            <a:off x="17025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6" name="Straight Connector 255"/>
          <p:cNvCxnSpPr/>
          <p:nvPr userDrawn="1"/>
        </p:nvCxnSpPr>
        <p:spPr>
          <a:xfrm flipV="1">
            <a:off x="17645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7" name="Straight Connector 256"/>
          <p:cNvCxnSpPr/>
          <p:nvPr userDrawn="1"/>
        </p:nvCxnSpPr>
        <p:spPr>
          <a:xfrm flipV="1">
            <a:off x="18264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8" name="Straight Connector 257"/>
          <p:cNvCxnSpPr/>
          <p:nvPr userDrawn="1"/>
        </p:nvCxnSpPr>
        <p:spPr>
          <a:xfrm flipV="1">
            <a:off x="18883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9" name="Straight Connector 258"/>
          <p:cNvCxnSpPr/>
          <p:nvPr userDrawn="1"/>
        </p:nvCxnSpPr>
        <p:spPr>
          <a:xfrm flipV="1">
            <a:off x="19502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0" name="Straight Connector 259"/>
          <p:cNvCxnSpPr/>
          <p:nvPr userDrawn="1"/>
        </p:nvCxnSpPr>
        <p:spPr>
          <a:xfrm flipV="1">
            <a:off x="20121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1" name="Straight Connector 260"/>
          <p:cNvCxnSpPr/>
          <p:nvPr userDrawn="1"/>
        </p:nvCxnSpPr>
        <p:spPr>
          <a:xfrm flipV="1">
            <a:off x="20740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2" name="Straight Connector 261"/>
          <p:cNvCxnSpPr/>
          <p:nvPr userDrawn="1"/>
        </p:nvCxnSpPr>
        <p:spPr>
          <a:xfrm flipV="1">
            <a:off x="21359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3" name="Straight Connector 262"/>
          <p:cNvCxnSpPr/>
          <p:nvPr userDrawn="1"/>
        </p:nvCxnSpPr>
        <p:spPr>
          <a:xfrm flipV="1">
            <a:off x="21978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4" name="Straight Connector 263"/>
          <p:cNvCxnSpPr/>
          <p:nvPr userDrawn="1"/>
        </p:nvCxnSpPr>
        <p:spPr>
          <a:xfrm flipV="1">
            <a:off x="22598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5" name="Straight Connector 264"/>
          <p:cNvCxnSpPr/>
          <p:nvPr userDrawn="1"/>
        </p:nvCxnSpPr>
        <p:spPr>
          <a:xfrm flipV="1">
            <a:off x="23217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6" name="Straight Connector 265"/>
          <p:cNvCxnSpPr/>
          <p:nvPr userDrawn="1"/>
        </p:nvCxnSpPr>
        <p:spPr>
          <a:xfrm flipV="1">
            <a:off x="23836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7" name="Straight Connector 266"/>
          <p:cNvCxnSpPr/>
          <p:nvPr userDrawn="1"/>
        </p:nvCxnSpPr>
        <p:spPr>
          <a:xfrm flipV="1">
            <a:off x="24455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8" name="Straight Connector 267"/>
          <p:cNvCxnSpPr/>
          <p:nvPr userDrawn="1"/>
        </p:nvCxnSpPr>
        <p:spPr>
          <a:xfrm flipV="1">
            <a:off x="25074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9" name="Straight Connector 268"/>
          <p:cNvCxnSpPr/>
          <p:nvPr userDrawn="1"/>
        </p:nvCxnSpPr>
        <p:spPr>
          <a:xfrm flipV="1">
            <a:off x="25693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0" name="Straight Connector 269"/>
          <p:cNvCxnSpPr/>
          <p:nvPr userDrawn="1"/>
        </p:nvCxnSpPr>
        <p:spPr>
          <a:xfrm flipV="1">
            <a:off x="26312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1" name="Straight Connector 270"/>
          <p:cNvCxnSpPr/>
          <p:nvPr userDrawn="1"/>
        </p:nvCxnSpPr>
        <p:spPr>
          <a:xfrm flipV="1">
            <a:off x="26931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2" name="Straight Connector 271"/>
          <p:cNvCxnSpPr/>
          <p:nvPr userDrawn="1"/>
        </p:nvCxnSpPr>
        <p:spPr>
          <a:xfrm flipV="1">
            <a:off x="27551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3" name="Straight Connector 272"/>
          <p:cNvCxnSpPr/>
          <p:nvPr userDrawn="1"/>
        </p:nvCxnSpPr>
        <p:spPr>
          <a:xfrm flipV="1">
            <a:off x="28170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4" name="Straight Connector 273"/>
          <p:cNvCxnSpPr/>
          <p:nvPr userDrawn="1"/>
        </p:nvCxnSpPr>
        <p:spPr>
          <a:xfrm flipV="1">
            <a:off x="28789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5" name="Straight Connector 274"/>
          <p:cNvCxnSpPr/>
          <p:nvPr userDrawn="1"/>
        </p:nvCxnSpPr>
        <p:spPr>
          <a:xfrm flipV="1">
            <a:off x="29408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6" name="Straight Connector 275"/>
          <p:cNvCxnSpPr/>
          <p:nvPr userDrawn="1"/>
        </p:nvCxnSpPr>
        <p:spPr>
          <a:xfrm flipV="1">
            <a:off x="30027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7" name="Straight Connector 276"/>
          <p:cNvCxnSpPr/>
          <p:nvPr userDrawn="1"/>
        </p:nvCxnSpPr>
        <p:spPr>
          <a:xfrm flipV="1">
            <a:off x="30646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8" name="Straight Connector 277"/>
          <p:cNvCxnSpPr/>
          <p:nvPr userDrawn="1"/>
        </p:nvCxnSpPr>
        <p:spPr>
          <a:xfrm flipV="1">
            <a:off x="31265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9" name="Straight Connector 278"/>
          <p:cNvCxnSpPr/>
          <p:nvPr userDrawn="1"/>
        </p:nvCxnSpPr>
        <p:spPr>
          <a:xfrm flipV="1">
            <a:off x="31884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0" name="Straight Connector 279"/>
          <p:cNvCxnSpPr/>
          <p:nvPr userDrawn="1"/>
        </p:nvCxnSpPr>
        <p:spPr>
          <a:xfrm flipV="1">
            <a:off x="32504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1" name="Straight Connector 280"/>
          <p:cNvCxnSpPr/>
          <p:nvPr userDrawn="1"/>
        </p:nvCxnSpPr>
        <p:spPr>
          <a:xfrm flipV="1">
            <a:off x="33123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2" name="Straight Connector 281"/>
          <p:cNvCxnSpPr/>
          <p:nvPr userDrawn="1"/>
        </p:nvCxnSpPr>
        <p:spPr>
          <a:xfrm flipV="1">
            <a:off x="33742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3" name="Straight Connector 282"/>
          <p:cNvCxnSpPr/>
          <p:nvPr userDrawn="1"/>
        </p:nvCxnSpPr>
        <p:spPr>
          <a:xfrm flipV="1">
            <a:off x="34361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4" name="Straight Connector 283"/>
          <p:cNvCxnSpPr/>
          <p:nvPr userDrawn="1"/>
        </p:nvCxnSpPr>
        <p:spPr>
          <a:xfrm flipV="1">
            <a:off x="34980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5" name="Straight Connector 284"/>
          <p:cNvCxnSpPr/>
          <p:nvPr userDrawn="1"/>
        </p:nvCxnSpPr>
        <p:spPr>
          <a:xfrm flipV="1">
            <a:off x="35599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6" name="Straight Connector 285"/>
          <p:cNvCxnSpPr/>
          <p:nvPr userDrawn="1"/>
        </p:nvCxnSpPr>
        <p:spPr>
          <a:xfrm flipV="1">
            <a:off x="36218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7" name="Straight Connector 286"/>
          <p:cNvCxnSpPr/>
          <p:nvPr userDrawn="1"/>
        </p:nvCxnSpPr>
        <p:spPr>
          <a:xfrm flipV="1">
            <a:off x="36837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8" name="Straight Connector 287"/>
          <p:cNvCxnSpPr/>
          <p:nvPr userDrawn="1"/>
        </p:nvCxnSpPr>
        <p:spPr>
          <a:xfrm flipV="1">
            <a:off x="37457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9" name="Straight Connector 288"/>
          <p:cNvCxnSpPr/>
          <p:nvPr userDrawn="1"/>
        </p:nvCxnSpPr>
        <p:spPr>
          <a:xfrm flipV="1">
            <a:off x="38076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0" name="Straight Connector 289"/>
          <p:cNvCxnSpPr/>
          <p:nvPr userDrawn="1"/>
        </p:nvCxnSpPr>
        <p:spPr>
          <a:xfrm flipV="1">
            <a:off x="38695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1" name="Straight Connector 290"/>
          <p:cNvCxnSpPr/>
          <p:nvPr userDrawn="1"/>
        </p:nvCxnSpPr>
        <p:spPr>
          <a:xfrm flipV="1">
            <a:off x="39314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2" name="Straight Connector 291"/>
          <p:cNvCxnSpPr/>
          <p:nvPr userDrawn="1"/>
        </p:nvCxnSpPr>
        <p:spPr>
          <a:xfrm flipV="1">
            <a:off x="39933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3" name="Straight Connector 292"/>
          <p:cNvCxnSpPr/>
          <p:nvPr userDrawn="1"/>
        </p:nvCxnSpPr>
        <p:spPr>
          <a:xfrm flipV="1">
            <a:off x="40552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4" name="Straight Connector 293"/>
          <p:cNvCxnSpPr/>
          <p:nvPr userDrawn="1"/>
        </p:nvCxnSpPr>
        <p:spPr>
          <a:xfrm flipV="1">
            <a:off x="41171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5" name="Straight Connector 294"/>
          <p:cNvCxnSpPr/>
          <p:nvPr userDrawn="1"/>
        </p:nvCxnSpPr>
        <p:spPr>
          <a:xfrm flipV="1">
            <a:off x="41790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6" name="Straight Connector 295"/>
          <p:cNvCxnSpPr/>
          <p:nvPr userDrawn="1"/>
        </p:nvCxnSpPr>
        <p:spPr>
          <a:xfrm flipV="1">
            <a:off x="42410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7" name="Straight Connector 296"/>
          <p:cNvCxnSpPr/>
          <p:nvPr userDrawn="1"/>
        </p:nvCxnSpPr>
        <p:spPr>
          <a:xfrm flipV="1">
            <a:off x="43029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8" name="Straight Connector 297"/>
          <p:cNvCxnSpPr/>
          <p:nvPr userDrawn="1"/>
        </p:nvCxnSpPr>
        <p:spPr>
          <a:xfrm flipV="1">
            <a:off x="43648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9" name="Straight Connector 298"/>
          <p:cNvCxnSpPr/>
          <p:nvPr userDrawn="1"/>
        </p:nvCxnSpPr>
        <p:spPr>
          <a:xfrm flipV="1">
            <a:off x="44267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0" name="Straight Connector 299"/>
          <p:cNvCxnSpPr/>
          <p:nvPr userDrawn="1"/>
        </p:nvCxnSpPr>
        <p:spPr>
          <a:xfrm flipV="1">
            <a:off x="44886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1" name="Straight Connector 300"/>
          <p:cNvCxnSpPr/>
          <p:nvPr userDrawn="1"/>
        </p:nvCxnSpPr>
        <p:spPr>
          <a:xfrm flipV="1">
            <a:off x="45505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2" name="Straight Connector 301"/>
          <p:cNvCxnSpPr/>
          <p:nvPr userDrawn="1"/>
        </p:nvCxnSpPr>
        <p:spPr>
          <a:xfrm flipV="1">
            <a:off x="46124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3" name="Straight Connector 302"/>
          <p:cNvCxnSpPr/>
          <p:nvPr userDrawn="1"/>
        </p:nvCxnSpPr>
        <p:spPr>
          <a:xfrm flipV="1">
            <a:off x="46743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4" name="Straight Connector 303"/>
          <p:cNvCxnSpPr/>
          <p:nvPr userDrawn="1"/>
        </p:nvCxnSpPr>
        <p:spPr>
          <a:xfrm flipV="1">
            <a:off x="47363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5" name="Straight Connector 304"/>
          <p:cNvCxnSpPr/>
          <p:nvPr userDrawn="1"/>
        </p:nvCxnSpPr>
        <p:spPr>
          <a:xfrm flipV="1">
            <a:off x="47982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6" name="Straight Connector 305"/>
          <p:cNvCxnSpPr/>
          <p:nvPr userDrawn="1"/>
        </p:nvCxnSpPr>
        <p:spPr>
          <a:xfrm flipV="1">
            <a:off x="48601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7" name="Straight Connector 306"/>
          <p:cNvCxnSpPr/>
          <p:nvPr userDrawn="1"/>
        </p:nvCxnSpPr>
        <p:spPr>
          <a:xfrm flipV="1">
            <a:off x="49220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8" name="Straight Connector 307"/>
          <p:cNvCxnSpPr/>
          <p:nvPr userDrawn="1"/>
        </p:nvCxnSpPr>
        <p:spPr>
          <a:xfrm flipV="1">
            <a:off x="49839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9" name="Straight Connector 308"/>
          <p:cNvCxnSpPr/>
          <p:nvPr userDrawn="1"/>
        </p:nvCxnSpPr>
        <p:spPr>
          <a:xfrm flipV="1">
            <a:off x="50458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0" name="Straight Connector 309"/>
          <p:cNvCxnSpPr/>
          <p:nvPr userDrawn="1"/>
        </p:nvCxnSpPr>
        <p:spPr>
          <a:xfrm flipV="1">
            <a:off x="51077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1" name="Straight Connector 310"/>
          <p:cNvCxnSpPr/>
          <p:nvPr userDrawn="1"/>
        </p:nvCxnSpPr>
        <p:spPr>
          <a:xfrm flipV="1">
            <a:off x="51696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2" name="Straight Connector 311"/>
          <p:cNvCxnSpPr/>
          <p:nvPr userDrawn="1"/>
        </p:nvCxnSpPr>
        <p:spPr>
          <a:xfrm flipV="1">
            <a:off x="52316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3" name="Straight Connector 312"/>
          <p:cNvCxnSpPr/>
          <p:nvPr userDrawn="1"/>
        </p:nvCxnSpPr>
        <p:spPr>
          <a:xfrm flipV="1">
            <a:off x="52935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4" name="Straight Connector 313"/>
          <p:cNvCxnSpPr/>
          <p:nvPr userDrawn="1"/>
        </p:nvCxnSpPr>
        <p:spPr>
          <a:xfrm flipV="1">
            <a:off x="53554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5" name="Straight Connector 314"/>
          <p:cNvCxnSpPr/>
          <p:nvPr userDrawn="1"/>
        </p:nvCxnSpPr>
        <p:spPr>
          <a:xfrm flipV="1">
            <a:off x="54173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6" name="Straight Connector 315"/>
          <p:cNvCxnSpPr/>
          <p:nvPr userDrawn="1"/>
        </p:nvCxnSpPr>
        <p:spPr>
          <a:xfrm flipV="1">
            <a:off x="54792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7" name="Straight Connector 316"/>
          <p:cNvCxnSpPr/>
          <p:nvPr userDrawn="1"/>
        </p:nvCxnSpPr>
        <p:spPr>
          <a:xfrm flipV="1">
            <a:off x="55411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8" name="Straight Connector 317"/>
          <p:cNvCxnSpPr/>
          <p:nvPr userDrawn="1"/>
        </p:nvCxnSpPr>
        <p:spPr>
          <a:xfrm flipV="1">
            <a:off x="56030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9" name="Straight Connector 318"/>
          <p:cNvCxnSpPr/>
          <p:nvPr userDrawn="1"/>
        </p:nvCxnSpPr>
        <p:spPr>
          <a:xfrm flipV="1">
            <a:off x="56649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0" name="Straight Connector 319"/>
          <p:cNvCxnSpPr/>
          <p:nvPr userDrawn="1"/>
        </p:nvCxnSpPr>
        <p:spPr>
          <a:xfrm flipV="1">
            <a:off x="57269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1" name="Straight Connector 320"/>
          <p:cNvCxnSpPr/>
          <p:nvPr userDrawn="1"/>
        </p:nvCxnSpPr>
        <p:spPr>
          <a:xfrm flipV="1">
            <a:off x="57888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2" name="Straight Connector 321"/>
          <p:cNvCxnSpPr/>
          <p:nvPr userDrawn="1"/>
        </p:nvCxnSpPr>
        <p:spPr>
          <a:xfrm flipV="1">
            <a:off x="58507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3" name="Straight Connector 322"/>
          <p:cNvCxnSpPr/>
          <p:nvPr userDrawn="1"/>
        </p:nvCxnSpPr>
        <p:spPr>
          <a:xfrm flipV="1">
            <a:off x="59126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4" name="Straight Connector 323"/>
          <p:cNvCxnSpPr/>
          <p:nvPr userDrawn="1"/>
        </p:nvCxnSpPr>
        <p:spPr>
          <a:xfrm flipV="1">
            <a:off x="59745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5" name="Straight Connector 324"/>
          <p:cNvCxnSpPr/>
          <p:nvPr userDrawn="1"/>
        </p:nvCxnSpPr>
        <p:spPr>
          <a:xfrm flipV="1">
            <a:off x="60364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6" name="Straight Connector 325"/>
          <p:cNvCxnSpPr/>
          <p:nvPr userDrawn="1"/>
        </p:nvCxnSpPr>
        <p:spPr>
          <a:xfrm flipV="1">
            <a:off x="60983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7" name="Straight Connector 326"/>
          <p:cNvCxnSpPr/>
          <p:nvPr userDrawn="1"/>
        </p:nvCxnSpPr>
        <p:spPr>
          <a:xfrm flipV="1">
            <a:off x="61602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8" name="Straight Connector 327"/>
          <p:cNvCxnSpPr/>
          <p:nvPr userDrawn="1"/>
        </p:nvCxnSpPr>
        <p:spPr>
          <a:xfrm flipV="1">
            <a:off x="62222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9" name="Straight Connector 328"/>
          <p:cNvCxnSpPr/>
          <p:nvPr userDrawn="1"/>
        </p:nvCxnSpPr>
        <p:spPr>
          <a:xfrm flipV="1">
            <a:off x="62841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0" name="Straight Connector 329"/>
          <p:cNvCxnSpPr/>
          <p:nvPr userDrawn="1"/>
        </p:nvCxnSpPr>
        <p:spPr>
          <a:xfrm flipV="1">
            <a:off x="63460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1" name="Straight Connector 330"/>
          <p:cNvCxnSpPr/>
          <p:nvPr userDrawn="1"/>
        </p:nvCxnSpPr>
        <p:spPr>
          <a:xfrm flipV="1">
            <a:off x="64079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2" name="Straight Connector 331"/>
          <p:cNvCxnSpPr/>
          <p:nvPr userDrawn="1"/>
        </p:nvCxnSpPr>
        <p:spPr>
          <a:xfrm flipV="1">
            <a:off x="64698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3" name="Straight Connector 332"/>
          <p:cNvCxnSpPr/>
          <p:nvPr userDrawn="1"/>
        </p:nvCxnSpPr>
        <p:spPr>
          <a:xfrm flipV="1">
            <a:off x="65317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4" name="Straight Connector 333"/>
          <p:cNvCxnSpPr/>
          <p:nvPr userDrawn="1"/>
        </p:nvCxnSpPr>
        <p:spPr>
          <a:xfrm flipV="1">
            <a:off x="65936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5" name="Straight Connector 334"/>
          <p:cNvCxnSpPr/>
          <p:nvPr userDrawn="1"/>
        </p:nvCxnSpPr>
        <p:spPr>
          <a:xfrm flipV="1">
            <a:off x="66555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6" name="Straight Connector 335"/>
          <p:cNvCxnSpPr/>
          <p:nvPr userDrawn="1"/>
        </p:nvCxnSpPr>
        <p:spPr>
          <a:xfrm flipV="1">
            <a:off x="67175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7" name="Straight Connector 336"/>
          <p:cNvCxnSpPr/>
          <p:nvPr userDrawn="1"/>
        </p:nvCxnSpPr>
        <p:spPr>
          <a:xfrm flipV="1">
            <a:off x="67794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8" name="Straight Connector 337"/>
          <p:cNvCxnSpPr/>
          <p:nvPr userDrawn="1"/>
        </p:nvCxnSpPr>
        <p:spPr>
          <a:xfrm flipV="1">
            <a:off x="68413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9" name="Straight Connector 338"/>
          <p:cNvCxnSpPr/>
          <p:nvPr userDrawn="1"/>
        </p:nvCxnSpPr>
        <p:spPr>
          <a:xfrm flipV="1">
            <a:off x="69032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0" name="Straight Connector 339"/>
          <p:cNvCxnSpPr/>
          <p:nvPr userDrawn="1"/>
        </p:nvCxnSpPr>
        <p:spPr>
          <a:xfrm flipV="1">
            <a:off x="69651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1" name="Straight Connector 340"/>
          <p:cNvCxnSpPr/>
          <p:nvPr userDrawn="1"/>
        </p:nvCxnSpPr>
        <p:spPr>
          <a:xfrm flipV="1">
            <a:off x="70270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2" name="Straight Connector 341"/>
          <p:cNvCxnSpPr/>
          <p:nvPr userDrawn="1"/>
        </p:nvCxnSpPr>
        <p:spPr>
          <a:xfrm flipV="1">
            <a:off x="70889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3" name="Straight Connector 342"/>
          <p:cNvCxnSpPr/>
          <p:nvPr userDrawn="1"/>
        </p:nvCxnSpPr>
        <p:spPr>
          <a:xfrm flipV="1">
            <a:off x="71508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4" name="Straight Connector 343"/>
          <p:cNvCxnSpPr/>
          <p:nvPr userDrawn="1"/>
        </p:nvCxnSpPr>
        <p:spPr>
          <a:xfrm flipV="1">
            <a:off x="72128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5" name="Straight Connector 344"/>
          <p:cNvCxnSpPr/>
          <p:nvPr userDrawn="1"/>
        </p:nvCxnSpPr>
        <p:spPr>
          <a:xfrm flipV="1">
            <a:off x="72747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6" name="Straight Connector 345"/>
          <p:cNvCxnSpPr/>
          <p:nvPr userDrawn="1"/>
        </p:nvCxnSpPr>
        <p:spPr>
          <a:xfrm flipV="1">
            <a:off x="73366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7" name="Straight Connector 346"/>
          <p:cNvCxnSpPr/>
          <p:nvPr userDrawn="1"/>
        </p:nvCxnSpPr>
        <p:spPr>
          <a:xfrm flipV="1">
            <a:off x="73985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8" name="Straight Connector 347"/>
          <p:cNvCxnSpPr/>
          <p:nvPr userDrawn="1"/>
        </p:nvCxnSpPr>
        <p:spPr>
          <a:xfrm flipV="1">
            <a:off x="74604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9" name="Straight Connector 348"/>
          <p:cNvCxnSpPr/>
          <p:nvPr userDrawn="1"/>
        </p:nvCxnSpPr>
        <p:spPr>
          <a:xfrm flipV="1">
            <a:off x="75223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0" name="Straight Connector 349"/>
          <p:cNvCxnSpPr/>
          <p:nvPr userDrawn="1"/>
        </p:nvCxnSpPr>
        <p:spPr>
          <a:xfrm flipV="1">
            <a:off x="75842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1" name="Straight Connector 350"/>
          <p:cNvCxnSpPr/>
          <p:nvPr userDrawn="1"/>
        </p:nvCxnSpPr>
        <p:spPr>
          <a:xfrm flipV="1">
            <a:off x="76461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2" name="Straight Connector 351"/>
          <p:cNvCxnSpPr/>
          <p:nvPr userDrawn="1"/>
        </p:nvCxnSpPr>
        <p:spPr>
          <a:xfrm flipV="1">
            <a:off x="77081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3" name="Straight Connector 352"/>
          <p:cNvCxnSpPr/>
          <p:nvPr userDrawn="1"/>
        </p:nvCxnSpPr>
        <p:spPr>
          <a:xfrm flipV="1">
            <a:off x="77700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4" name="Straight Connector 353"/>
          <p:cNvCxnSpPr/>
          <p:nvPr userDrawn="1"/>
        </p:nvCxnSpPr>
        <p:spPr>
          <a:xfrm flipV="1">
            <a:off x="78319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5" name="Straight Connector 354"/>
          <p:cNvCxnSpPr/>
          <p:nvPr userDrawn="1"/>
        </p:nvCxnSpPr>
        <p:spPr>
          <a:xfrm flipV="1">
            <a:off x="78938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6" name="Straight Connector 355"/>
          <p:cNvCxnSpPr/>
          <p:nvPr userDrawn="1"/>
        </p:nvCxnSpPr>
        <p:spPr>
          <a:xfrm flipV="1">
            <a:off x="79557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7" name="Straight Connector 356"/>
          <p:cNvCxnSpPr/>
          <p:nvPr userDrawn="1"/>
        </p:nvCxnSpPr>
        <p:spPr>
          <a:xfrm flipV="1">
            <a:off x="80176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8" name="Straight Connector 357"/>
          <p:cNvCxnSpPr/>
          <p:nvPr userDrawn="1"/>
        </p:nvCxnSpPr>
        <p:spPr>
          <a:xfrm flipV="1">
            <a:off x="80795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9" name="Straight Connector 358"/>
          <p:cNvCxnSpPr/>
          <p:nvPr userDrawn="1"/>
        </p:nvCxnSpPr>
        <p:spPr>
          <a:xfrm flipV="1">
            <a:off x="81414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0" name="Straight Connector 359"/>
          <p:cNvCxnSpPr/>
          <p:nvPr userDrawn="1"/>
        </p:nvCxnSpPr>
        <p:spPr>
          <a:xfrm flipV="1">
            <a:off x="82034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1" name="Straight Connector 360"/>
          <p:cNvCxnSpPr/>
          <p:nvPr userDrawn="1"/>
        </p:nvCxnSpPr>
        <p:spPr>
          <a:xfrm flipV="1">
            <a:off x="82653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2" name="Straight Connector 361"/>
          <p:cNvCxnSpPr/>
          <p:nvPr userDrawn="1"/>
        </p:nvCxnSpPr>
        <p:spPr>
          <a:xfrm flipV="1">
            <a:off x="83272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3" name="Straight Connector 362"/>
          <p:cNvCxnSpPr/>
          <p:nvPr userDrawn="1"/>
        </p:nvCxnSpPr>
        <p:spPr>
          <a:xfrm flipV="1">
            <a:off x="83891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4" name="Straight Connector 363"/>
          <p:cNvCxnSpPr/>
          <p:nvPr userDrawn="1"/>
        </p:nvCxnSpPr>
        <p:spPr>
          <a:xfrm flipV="1">
            <a:off x="84510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5" name="Straight Connector 364"/>
          <p:cNvCxnSpPr/>
          <p:nvPr userDrawn="1"/>
        </p:nvCxnSpPr>
        <p:spPr>
          <a:xfrm flipV="1">
            <a:off x="85129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6" name="Straight Connector 365"/>
          <p:cNvCxnSpPr/>
          <p:nvPr userDrawn="1"/>
        </p:nvCxnSpPr>
        <p:spPr>
          <a:xfrm flipV="1">
            <a:off x="85748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7" name="Straight Connector 366"/>
          <p:cNvCxnSpPr/>
          <p:nvPr userDrawn="1"/>
        </p:nvCxnSpPr>
        <p:spPr>
          <a:xfrm flipV="1">
            <a:off x="86367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8" name="Straight Connector 367"/>
          <p:cNvCxnSpPr/>
          <p:nvPr userDrawn="1"/>
        </p:nvCxnSpPr>
        <p:spPr>
          <a:xfrm flipV="1">
            <a:off x="86987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9" name="Straight Connector 368"/>
          <p:cNvCxnSpPr/>
          <p:nvPr userDrawn="1"/>
        </p:nvCxnSpPr>
        <p:spPr>
          <a:xfrm flipV="1">
            <a:off x="87606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0" name="Straight Connector 369"/>
          <p:cNvCxnSpPr/>
          <p:nvPr userDrawn="1"/>
        </p:nvCxnSpPr>
        <p:spPr>
          <a:xfrm flipV="1">
            <a:off x="882253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1" name="Straight Connector 370"/>
          <p:cNvCxnSpPr/>
          <p:nvPr userDrawn="1"/>
        </p:nvCxnSpPr>
        <p:spPr>
          <a:xfrm flipV="1">
            <a:off x="888444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2" name="Straight Connector 371"/>
          <p:cNvCxnSpPr/>
          <p:nvPr userDrawn="1"/>
        </p:nvCxnSpPr>
        <p:spPr>
          <a:xfrm flipV="1">
            <a:off x="894635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3" name="Straight Connector 372"/>
          <p:cNvCxnSpPr/>
          <p:nvPr userDrawn="1"/>
        </p:nvCxnSpPr>
        <p:spPr>
          <a:xfrm flipV="1">
            <a:off x="900826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4" name="Straight Connector 373"/>
          <p:cNvCxnSpPr/>
          <p:nvPr userDrawn="1"/>
        </p:nvCxnSpPr>
        <p:spPr>
          <a:xfrm flipV="1">
            <a:off x="9070181"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5" name="Straight Connector 374"/>
          <p:cNvCxnSpPr/>
          <p:nvPr userDrawn="1"/>
        </p:nvCxnSpPr>
        <p:spPr>
          <a:xfrm flipV="1">
            <a:off x="9132094"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6" name="Straight Connector 375"/>
          <p:cNvCxnSpPr/>
          <p:nvPr userDrawn="1"/>
        </p:nvCxnSpPr>
        <p:spPr>
          <a:xfrm flipV="1">
            <a:off x="9194006"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7" name="Straight Connector 376"/>
          <p:cNvCxnSpPr/>
          <p:nvPr userDrawn="1"/>
        </p:nvCxnSpPr>
        <p:spPr>
          <a:xfrm flipV="1">
            <a:off x="9255919" y="381000"/>
            <a:ext cx="0" cy="60960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grpSp>
        <p:nvGrpSpPr>
          <p:cNvPr id="378" name="Group 377"/>
          <p:cNvGrpSpPr/>
          <p:nvPr userDrawn="1"/>
        </p:nvGrpSpPr>
        <p:grpSpPr>
          <a:xfrm>
            <a:off x="9317831" y="381000"/>
            <a:ext cx="247650" cy="6096000"/>
            <a:chOff x="12999720" y="609600"/>
            <a:chExt cx="365760" cy="7315200"/>
          </a:xfrm>
        </p:grpSpPr>
        <p:cxnSp>
          <p:nvCxnSpPr>
            <p:cNvPr id="379" name="Straight Connector 378"/>
            <p:cNvCxnSpPr/>
            <p:nvPr userDrawn="1"/>
          </p:nvCxnSpPr>
          <p:spPr>
            <a:xfrm flipV="1">
              <a:off x="1299972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0" name="Straight Connector 379"/>
            <p:cNvCxnSpPr/>
            <p:nvPr userDrawn="1"/>
          </p:nvCxnSpPr>
          <p:spPr>
            <a:xfrm flipV="1">
              <a:off x="1309116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1" name="Straight Connector 380"/>
            <p:cNvCxnSpPr/>
            <p:nvPr userDrawn="1"/>
          </p:nvCxnSpPr>
          <p:spPr>
            <a:xfrm flipV="1">
              <a:off x="1318260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2" name="Straight Connector 381"/>
            <p:cNvCxnSpPr/>
            <p:nvPr userDrawn="1"/>
          </p:nvCxnSpPr>
          <p:spPr>
            <a:xfrm flipV="1">
              <a:off x="1327404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3" name="Straight Connector 382"/>
            <p:cNvCxnSpPr/>
            <p:nvPr userDrawn="1"/>
          </p:nvCxnSpPr>
          <p:spPr>
            <a:xfrm flipV="1">
              <a:off x="1336548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grpSp>
      <p:cxnSp>
        <p:nvCxnSpPr>
          <p:cNvPr id="384" name="Straight Connector 383"/>
          <p:cNvCxnSpPr/>
          <p:nvPr userDrawn="1"/>
        </p:nvCxnSpPr>
        <p:spPr>
          <a:xfrm>
            <a:off x="309563" y="4191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5" name="Straight Connector 384"/>
          <p:cNvCxnSpPr/>
          <p:nvPr userDrawn="1"/>
        </p:nvCxnSpPr>
        <p:spPr>
          <a:xfrm>
            <a:off x="309563" y="4953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6" name="Straight Connector 385"/>
          <p:cNvCxnSpPr/>
          <p:nvPr userDrawn="1"/>
        </p:nvCxnSpPr>
        <p:spPr>
          <a:xfrm>
            <a:off x="309563" y="5715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7" name="Straight Connector 386"/>
          <p:cNvCxnSpPr/>
          <p:nvPr userDrawn="1"/>
        </p:nvCxnSpPr>
        <p:spPr>
          <a:xfrm>
            <a:off x="309563" y="6477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8" name="Straight Connector 387"/>
          <p:cNvCxnSpPr/>
          <p:nvPr userDrawn="1"/>
        </p:nvCxnSpPr>
        <p:spPr>
          <a:xfrm>
            <a:off x="309563" y="8001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9" name="Straight Connector 388"/>
          <p:cNvCxnSpPr/>
          <p:nvPr userDrawn="1"/>
        </p:nvCxnSpPr>
        <p:spPr>
          <a:xfrm>
            <a:off x="309563" y="8763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0" name="Straight Connector 389"/>
          <p:cNvCxnSpPr/>
          <p:nvPr userDrawn="1"/>
        </p:nvCxnSpPr>
        <p:spPr>
          <a:xfrm>
            <a:off x="309563" y="9525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1" name="Straight Connector 390"/>
          <p:cNvCxnSpPr/>
          <p:nvPr userDrawn="1"/>
        </p:nvCxnSpPr>
        <p:spPr>
          <a:xfrm>
            <a:off x="309563" y="10287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2" name="Straight Connector 391"/>
          <p:cNvCxnSpPr/>
          <p:nvPr userDrawn="1"/>
        </p:nvCxnSpPr>
        <p:spPr>
          <a:xfrm>
            <a:off x="309563" y="7239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3" name="Straight Connector 392"/>
          <p:cNvCxnSpPr/>
          <p:nvPr userDrawn="1"/>
        </p:nvCxnSpPr>
        <p:spPr>
          <a:xfrm>
            <a:off x="309563" y="11049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4" name="Straight Connector 393"/>
          <p:cNvCxnSpPr/>
          <p:nvPr userDrawn="1"/>
        </p:nvCxnSpPr>
        <p:spPr>
          <a:xfrm>
            <a:off x="309563" y="11811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5" name="Straight Connector 394"/>
          <p:cNvCxnSpPr/>
          <p:nvPr userDrawn="1"/>
        </p:nvCxnSpPr>
        <p:spPr>
          <a:xfrm>
            <a:off x="309563" y="12573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6" name="Straight Connector 395"/>
          <p:cNvCxnSpPr/>
          <p:nvPr userDrawn="1"/>
        </p:nvCxnSpPr>
        <p:spPr>
          <a:xfrm>
            <a:off x="309563" y="13335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7" name="Straight Connector 396"/>
          <p:cNvCxnSpPr/>
          <p:nvPr userDrawn="1"/>
        </p:nvCxnSpPr>
        <p:spPr>
          <a:xfrm>
            <a:off x="309563" y="14097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8" name="Straight Connector 397"/>
          <p:cNvCxnSpPr/>
          <p:nvPr userDrawn="1"/>
        </p:nvCxnSpPr>
        <p:spPr>
          <a:xfrm>
            <a:off x="309563" y="15621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9" name="Straight Connector 398"/>
          <p:cNvCxnSpPr/>
          <p:nvPr userDrawn="1"/>
        </p:nvCxnSpPr>
        <p:spPr>
          <a:xfrm>
            <a:off x="309563" y="16383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0" name="Straight Connector 399"/>
          <p:cNvCxnSpPr/>
          <p:nvPr userDrawn="1"/>
        </p:nvCxnSpPr>
        <p:spPr>
          <a:xfrm>
            <a:off x="309563" y="17907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1" name="Straight Connector 400"/>
          <p:cNvCxnSpPr/>
          <p:nvPr userDrawn="1"/>
        </p:nvCxnSpPr>
        <p:spPr>
          <a:xfrm>
            <a:off x="309563" y="14859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2" name="Straight Connector 401"/>
          <p:cNvCxnSpPr/>
          <p:nvPr userDrawn="1"/>
        </p:nvCxnSpPr>
        <p:spPr>
          <a:xfrm>
            <a:off x="309563" y="18669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3" name="Straight Connector 402"/>
          <p:cNvCxnSpPr/>
          <p:nvPr userDrawn="1"/>
        </p:nvCxnSpPr>
        <p:spPr>
          <a:xfrm>
            <a:off x="309563" y="19431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4" name="Straight Connector 403"/>
          <p:cNvCxnSpPr/>
          <p:nvPr userDrawn="1"/>
        </p:nvCxnSpPr>
        <p:spPr>
          <a:xfrm>
            <a:off x="309563" y="20193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5" name="Straight Connector 404"/>
          <p:cNvCxnSpPr/>
          <p:nvPr userDrawn="1"/>
        </p:nvCxnSpPr>
        <p:spPr>
          <a:xfrm>
            <a:off x="309563" y="20955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6" name="Straight Connector 405"/>
          <p:cNvCxnSpPr/>
          <p:nvPr userDrawn="1"/>
        </p:nvCxnSpPr>
        <p:spPr>
          <a:xfrm>
            <a:off x="309563" y="21717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7" name="Straight Connector 406"/>
          <p:cNvCxnSpPr/>
          <p:nvPr userDrawn="1"/>
        </p:nvCxnSpPr>
        <p:spPr>
          <a:xfrm>
            <a:off x="309563" y="23241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8" name="Straight Connector 407"/>
          <p:cNvCxnSpPr/>
          <p:nvPr userDrawn="1"/>
        </p:nvCxnSpPr>
        <p:spPr>
          <a:xfrm>
            <a:off x="309563" y="24003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9" name="Straight Connector 408"/>
          <p:cNvCxnSpPr/>
          <p:nvPr userDrawn="1"/>
        </p:nvCxnSpPr>
        <p:spPr>
          <a:xfrm>
            <a:off x="309563" y="24765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0" name="Straight Connector 409"/>
          <p:cNvCxnSpPr/>
          <p:nvPr userDrawn="1"/>
        </p:nvCxnSpPr>
        <p:spPr>
          <a:xfrm>
            <a:off x="309563" y="25527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1" name="Straight Connector 410"/>
          <p:cNvCxnSpPr/>
          <p:nvPr userDrawn="1"/>
        </p:nvCxnSpPr>
        <p:spPr>
          <a:xfrm>
            <a:off x="309563" y="22479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2" name="Straight Connector 411"/>
          <p:cNvCxnSpPr/>
          <p:nvPr userDrawn="1"/>
        </p:nvCxnSpPr>
        <p:spPr>
          <a:xfrm>
            <a:off x="309563" y="26289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3" name="Straight Connector 412"/>
          <p:cNvCxnSpPr/>
          <p:nvPr userDrawn="1"/>
        </p:nvCxnSpPr>
        <p:spPr>
          <a:xfrm>
            <a:off x="309563" y="27051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4" name="Straight Connector 413"/>
          <p:cNvCxnSpPr/>
          <p:nvPr userDrawn="1"/>
        </p:nvCxnSpPr>
        <p:spPr>
          <a:xfrm>
            <a:off x="309563" y="27813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5" name="Straight Connector 414"/>
          <p:cNvCxnSpPr/>
          <p:nvPr userDrawn="1"/>
        </p:nvCxnSpPr>
        <p:spPr>
          <a:xfrm>
            <a:off x="309563" y="28575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6" name="Straight Connector 415"/>
          <p:cNvCxnSpPr/>
          <p:nvPr userDrawn="1"/>
        </p:nvCxnSpPr>
        <p:spPr>
          <a:xfrm>
            <a:off x="309563" y="29337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7" name="Straight Connector 416"/>
          <p:cNvCxnSpPr/>
          <p:nvPr userDrawn="1"/>
        </p:nvCxnSpPr>
        <p:spPr>
          <a:xfrm>
            <a:off x="309563" y="30861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8" name="Straight Connector 417"/>
          <p:cNvCxnSpPr/>
          <p:nvPr userDrawn="1"/>
        </p:nvCxnSpPr>
        <p:spPr>
          <a:xfrm>
            <a:off x="309563" y="31623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9" name="Straight Connector 418"/>
          <p:cNvCxnSpPr/>
          <p:nvPr userDrawn="1"/>
        </p:nvCxnSpPr>
        <p:spPr>
          <a:xfrm>
            <a:off x="309563" y="32385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0" name="Straight Connector 419"/>
          <p:cNvCxnSpPr/>
          <p:nvPr userDrawn="1"/>
        </p:nvCxnSpPr>
        <p:spPr>
          <a:xfrm>
            <a:off x="309563" y="33147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1" name="Straight Connector 420"/>
          <p:cNvCxnSpPr/>
          <p:nvPr userDrawn="1"/>
        </p:nvCxnSpPr>
        <p:spPr>
          <a:xfrm>
            <a:off x="309563" y="30099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2" name="Straight Connector 421"/>
          <p:cNvCxnSpPr/>
          <p:nvPr userDrawn="1"/>
        </p:nvCxnSpPr>
        <p:spPr>
          <a:xfrm>
            <a:off x="309563" y="33909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3" name="Straight Connector 422"/>
          <p:cNvCxnSpPr/>
          <p:nvPr userDrawn="1"/>
        </p:nvCxnSpPr>
        <p:spPr>
          <a:xfrm>
            <a:off x="309563" y="34671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4" name="Straight Connector 423"/>
          <p:cNvCxnSpPr/>
          <p:nvPr userDrawn="1"/>
        </p:nvCxnSpPr>
        <p:spPr>
          <a:xfrm>
            <a:off x="309563" y="35433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5" name="Straight Connector 424"/>
          <p:cNvCxnSpPr/>
          <p:nvPr userDrawn="1"/>
        </p:nvCxnSpPr>
        <p:spPr>
          <a:xfrm>
            <a:off x="309563" y="36195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6" name="Straight Connector 425"/>
          <p:cNvCxnSpPr/>
          <p:nvPr userDrawn="1"/>
        </p:nvCxnSpPr>
        <p:spPr>
          <a:xfrm>
            <a:off x="309563" y="36957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7" name="Straight Connector 426"/>
          <p:cNvCxnSpPr/>
          <p:nvPr userDrawn="1"/>
        </p:nvCxnSpPr>
        <p:spPr>
          <a:xfrm>
            <a:off x="309563" y="38481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8" name="Straight Connector 427"/>
          <p:cNvCxnSpPr/>
          <p:nvPr userDrawn="1"/>
        </p:nvCxnSpPr>
        <p:spPr>
          <a:xfrm>
            <a:off x="309563" y="39243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9" name="Straight Connector 428"/>
          <p:cNvCxnSpPr/>
          <p:nvPr userDrawn="1"/>
        </p:nvCxnSpPr>
        <p:spPr>
          <a:xfrm>
            <a:off x="309563" y="40005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0" name="Straight Connector 429"/>
          <p:cNvCxnSpPr/>
          <p:nvPr userDrawn="1"/>
        </p:nvCxnSpPr>
        <p:spPr>
          <a:xfrm>
            <a:off x="309563" y="40767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1" name="Straight Connector 430"/>
          <p:cNvCxnSpPr/>
          <p:nvPr userDrawn="1"/>
        </p:nvCxnSpPr>
        <p:spPr>
          <a:xfrm>
            <a:off x="309563" y="37719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2" name="Straight Connector 431"/>
          <p:cNvCxnSpPr/>
          <p:nvPr userDrawn="1"/>
        </p:nvCxnSpPr>
        <p:spPr>
          <a:xfrm>
            <a:off x="309563" y="41529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3" name="Straight Connector 432"/>
          <p:cNvCxnSpPr/>
          <p:nvPr userDrawn="1"/>
        </p:nvCxnSpPr>
        <p:spPr>
          <a:xfrm>
            <a:off x="309563" y="42291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4" name="Straight Connector 433"/>
          <p:cNvCxnSpPr/>
          <p:nvPr userDrawn="1"/>
        </p:nvCxnSpPr>
        <p:spPr>
          <a:xfrm>
            <a:off x="309563" y="43053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5" name="Straight Connector 434"/>
          <p:cNvCxnSpPr/>
          <p:nvPr userDrawn="1"/>
        </p:nvCxnSpPr>
        <p:spPr>
          <a:xfrm>
            <a:off x="309563" y="43815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6" name="Straight Connector 435"/>
          <p:cNvCxnSpPr/>
          <p:nvPr userDrawn="1"/>
        </p:nvCxnSpPr>
        <p:spPr>
          <a:xfrm>
            <a:off x="309563" y="44577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7" name="Straight Connector 436"/>
          <p:cNvCxnSpPr/>
          <p:nvPr userDrawn="1"/>
        </p:nvCxnSpPr>
        <p:spPr>
          <a:xfrm>
            <a:off x="309563" y="46101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8" name="Straight Connector 437"/>
          <p:cNvCxnSpPr/>
          <p:nvPr userDrawn="1"/>
        </p:nvCxnSpPr>
        <p:spPr>
          <a:xfrm>
            <a:off x="309563" y="46863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9" name="Straight Connector 438"/>
          <p:cNvCxnSpPr/>
          <p:nvPr userDrawn="1"/>
        </p:nvCxnSpPr>
        <p:spPr>
          <a:xfrm>
            <a:off x="309563" y="47625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0" name="Straight Connector 439"/>
          <p:cNvCxnSpPr/>
          <p:nvPr userDrawn="1"/>
        </p:nvCxnSpPr>
        <p:spPr>
          <a:xfrm>
            <a:off x="309563" y="48387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1" name="Straight Connector 440"/>
          <p:cNvCxnSpPr/>
          <p:nvPr userDrawn="1"/>
        </p:nvCxnSpPr>
        <p:spPr>
          <a:xfrm>
            <a:off x="309563" y="45339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2" name="Straight Connector 441"/>
          <p:cNvCxnSpPr/>
          <p:nvPr userDrawn="1"/>
        </p:nvCxnSpPr>
        <p:spPr>
          <a:xfrm>
            <a:off x="309563" y="49149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3" name="Straight Connector 442"/>
          <p:cNvCxnSpPr/>
          <p:nvPr userDrawn="1"/>
        </p:nvCxnSpPr>
        <p:spPr>
          <a:xfrm>
            <a:off x="309563" y="49911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4" name="Straight Connector 443"/>
          <p:cNvCxnSpPr/>
          <p:nvPr userDrawn="1"/>
        </p:nvCxnSpPr>
        <p:spPr>
          <a:xfrm>
            <a:off x="309563" y="50673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5" name="Straight Connector 444"/>
          <p:cNvCxnSpPr/>
          <p:nvPr userDrawn="1"/>
        </p:nvCxnSpPr>
        <p:spPr>
          <a:xfrm>
            <a:off x="309563" y="52197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6" name="Straight Connector 445"/>
          <p:cNvCxnSpPr/>
          <p:nvPr userDrawn="1"/>
        </p:nvCxnSpPr>
        <p:spPr>
          <a:xfrm>
            <a:off x="309563" y="53721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7" name="Straight Connector 446"/>
          <p:cNvCxnSpPr/>
          <p:nvPr userDrawn="1"/>
        </p:nvCxnSpPr>
        <p:spPr>
          <a:xfrm>
            <a:off x="309563" y="54483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8" name="Straight Connector 447"/>
          <p:cNvCxnSpPr/>
          <p:nvPr userDrawn="1"/>
        </p:nvCxnSpPr>
        <p:spPr>
          <a:xfrm>
            <a:off x="309563" y="55245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9" name="Straight Connector 448"/>
          <p:cNvCxnSpPr/>
          <p:nvPr userDrawn="1"/>
        </p:nvCxnSpPr>
        <p:spPr>
          <a:xfrm>
            <a:off x="309563" y="56007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0" name="Straight Connector 449"/>
          <p:cNvCxnSpPr/>
          <p:nvPr userDrawn="1"/>
        </p:nvCxnSpPr>
        <p:spPr>
          <a:xfrm>
            <a:off x="309563" y="52959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1" name="Straight Connector 450"/>
          <p:cNvCxnSpPr/>
          <p:nvPr userDrawn="1"/>
        </p:nvCxnSpPr>
        <p:spPr>
          <a:xfrm>
            <a:off x="309563" y="56769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2" name="Straight Connector 451"/>
          <p:cNvCxnSpPr/>
          <p:nvPr userDrawn="1"/>
        </p:nvCxnSpPr>
        <p:spPr>
          <a:xfrm>
            <a:off x="309563" y="57531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3" name="Straight Connector 452"/>
          <p:cNvCxnSpPr/>
          <p:nvPr userDrawn="1"/>
        </p:nvCxnSpPr>
        <p:spPr>
          <a:xfrm>
            <a:off x="309563" y="58293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4" name="Straight Connector 453"/>
          <p:cNvCxnSpPr/>
          <p:nvPr userDrawn="1"/>
        </p:nvCxnSpPr>
        <p:spPr>
          <a:xfrm>
            <a:off x="309563" y="59055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5" name="Straight Connector 454"/>
          <p:cNvCxnSpPr/>
          <p:nvPr userDrawn="1"/>
        </p:nvCxnSpPr>
        <p:spPr>
          <a:xfrm>
            <a:off x="309563" y="59817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6" name="Straight Connector 455"/>
          <p:cNvCxnSpPr/>
          <p:nvPr userDrawn="1"/>
        </p:nvCxnSpPr>
        <p:spPr>
          <a:xfrm>
            <a:off x="309563" y="61341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7" name="Straight Connector 456"/>
          <p:cNvCxnSpPr/>
          <p:nvPr userDrawn="1"/>
        </p:nvCxnSpPr>
        <p:spPr>
          <a:xfrm>
            <a:off x="309563" y="62103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8" name="Straight Connector 457"/>
          <p:cNvCxnSpPr/>
          <p:nvPr userDrawn="1"/>
        </p:nvCxnSpPr>
        <p:spPr>
          <a:xfrm>
            <a:off x="309563" y="62865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9" name="Straight Connector 458"/>
          <p:cNvCxnSpPr/>
          <p:nvPr userDrawn="1"/>
        </p:nvCxnSpPr>
        <p:spPr>
          <a:xfrm>
            <a:off x="309563" y="63627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0" name="Straight Connector 459"/>
          <p:cNvCxnSpPr/>
          <p:nvPr userDrawn="1"/>
        </p:nvCxnSpPr>
        <p:spPr>
          <a:xfrm>
            <a:off x="309563" y="60579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1" name="Straight Connector 460"/>
          <p:cNvCxnSpPr/>
          <p:nvPr userDrawn="1"/>
        </p:nvCxnSpPr>
        <p:spPr>
          <a:xfrm>
            <a:off x="309563" y="6438900"/>
            <a:ext cx="9286875"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462" name="Slide Number Placeholder 2"/>
          <p:cNvSpPr txBox="1">
            <a:spLocks/>
          </p:cNvSpPr>
          <p:nvPr userDrawn="1"/>
        </p:nvSpPr>
        <p:spPr>
          <a:xfrm>
            <a:off x="309564" y="6578160"/>
            <a:ext cx="365699"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endParaRPr lang="en-US" sz="800" b="0" dirty="0">
              <a:solidFill>
                <a:srgbClr val="FFFFFF"/>
              </a:solidFill>
              <a:latin typeface="Arial Regular" charset="0"/>
            </a:endParaRPr>
          </a:p>
        </p:txBody>
      </p:sp>
      <p:sp>
        <p:nvSpPr>
          <p:cNvPr id="463" name="Rectangle 462"/>
          <p:cNvSpPr/>
          <p:nvPr userDrawn="1"/>
        </p:nvSpPr>
        <p:spPr>
          <a:xfrm>
            <a:off x="0" y="3352057"/>
            <a:ext cx="9906000" cy="153888"/>
          </a:xfrm>
          <a:prstGeom prst="rect">
            <a:avLst/>
          </a:prstGeom>
          <a:solidFill>
            <a:schemeClr val="tx1">
              <a:alpha val="40000"/>
            </a:schemeClr>
          </a:solidFill>
        </p:spPr>
        <p:txBody>
          <a:bodyPr wrap="square" lIns="0" tIns="0" rIns="0" bIns="0" rtlCol="0" anchor="ctr">
            <a:spAutoFit/>
          </a:bodyPr>
          <a:lstStyle/>
          <a:p>
            <a:pPr algn="ctr" defTabSz="804571" eaLnBrk="1" fontAlgn="auto" hangingPunct="1">
              <a:spcBef>
                <a:spcPts val="0"/>
              </a:spcBef>
              <a:spcAft>
                <a:spcPts val="0"/>
              </a:spcAft>
            </a:pPr>
            <a:endParaRPr lang="en-US" sz="1000" b="0" dirty="0">
              <a:solidFill>
                <a:srgbClr val="FFFFFF"/>
              </a:solidFill>
              <a:latin typeface="Arial Regular" charset="0"/>
              <a:ea typeface="+mn-ea"/>
            </a:endParaRPr>
          </a:p>
        </p:txBody>
      </p:sp>
      <p:grpSp>
        <p:nvGrpSpPr>
          <p:cNvPr id="475" name="Group 474"/>
          <p:cNvGrpSpPr/>
          <p:nvPr userDrawn="1"/>
        </p:nvGrpSpPr>
        <p:grpSpPr>
          <a:xfrm>
            <a:off x="619126" y="6583048"/>
            <a:ext cx="1837164" cy="183809"/>
            <a:chOff x="914400" y="7899655"/>
            <a:chExt cx="2713350" cy="220571"/>
          </a:xfrm>
        </p:grpSpPr>
        <p:sp>
          <p:nvSpPr>
            <p:cNvPr id="476"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a:t>
              </a:r>
              <a:r>
                <a:rPr lang="en-US" sz="300" b="0" dirty="0">
                  <a:solidFill>
                    <a:srgbClr val="FFFFFF">
                      <a:alpha val="60000"/>
                    </a:srgbClr>
                  </a:solidFill>
                  <a:latin typeface="IBM Plex Sans" charset="0"/>
                  <a:ea typeface="IBM Plex Sans" charset="0"/>
                  <a:cs typeface="IBM Plex Sans" charset="0"/>
                </a:rPr>
                <a:t> </a:t>
              </a:r>
              <a:r>
                <a:rPr lang="en-US" sz="600" b="0" dirty="0">
                  <a:solidFill>
                    <a:srgbClr val="FFFFFF">
                      <a:alpha val="60000"/>
                    </a:srgbClr>
                  </a:solidFill>
                  <a:latin typeface="IBM Plex Sans" charset="0"/>
                  <a:ea typeface="IBM Plex Sans" charset="0"/>
                  <a:cs typeface="IBM Plex Sans" charset="0"/>
                </a:rPr>
                <a:t>2018 IBM Corporation               </a:t>
              </a:r>
            </a:p>
          </p:txBody>
        </p:sp>
        <p:sp>
          <p:nvSpPr>
            <p:cNvPr id="477"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FFFFFF">
                      <a:alpha val="60000"/>
                    </a:srgbClr>
                  </a:solidFill>
                  <a:latin typeface="IBM Plex Sans" charset="0"/>
                  <a:ea typeface="IBM Plex Sans" charset="0"/>
                  <a:cs typeface="IBM Plex Sans" charset="0"/>
                </a:rPr>
                <a:t> </a:t>
              </a:r>
              <a:fld id="{7C9968D1-C8E5-4FE3-AED4-7D4518C301B3}" type="datetime3">
                <a:rPr lang="en-US" sz="600" b="0" smtClean="0">
                  <a:solidFill>
                    <a:srgbClr val="FFFFFF">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FFFFFF">
                    <a:alpha val="60000"/>
                  </a:srgbClr>
                </a:solidFill>
                <a:latin typeface="IBM Plex Sans" charset="0"/>
                <a:ea typeface="IBM Plex Sans" charset="0"/>
                <a:cs typeface="IBM Plex Sans" charset="0"/>
              </a:endParaRPr>
            </a:p>
          </p:txBody>
        </p:sp>
      </p:grpSp>
      <p:sp>
        <p:nvSpPr>
          <p:cNvPr id="480" name="Slide Number Placeholder 2"/>
          <p:cNvSpPr txBox="1">
            <a:spLocks/>
          </p:cNvSpPr>
          <p:nvPr userDrawn="1"/>
        </p:nvSpPr>
        <p:spPr>
          <a:xfrm>
            <a:off x="307977" y="6578160"/>
            <a:ext cx="222002"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sp>
        <p:nvSpPr>
          <p:cNvPr id="478" name="Footer Placeholder 3"/>
          <p:cNvSpPr txBox="1">
            <a:spLocks/>
          </p:cNvSpPr>
          <p:nvPr userDrawn="1"/>
        </p:nvSpPr>
        <p:spPr>
          <a:xfrm>
            <a:off x="2631281" y="6583680"/>
            <a:ext cx="2693194"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IBM Industry Academy | IBM Institute for Business Value | IBM Research</a:t>
            </a:r>
          </a:p>
        </p:txBody>
      </p:sp>
    </p:spTree>
    <p:extLst>
      <p:ext uri="{BB962C8B-B14F-4D97-AF65-F5344CB8AC3E}">
        <p14:creationId xmlns:p14="http://schemas.microsoft.com/office/powerpoint/2010/main" val="2750324294"/>
      </p:ext>
    </p:extLst>
  </p:cSld>
  <p:clrMapOvr>
    <a:masterClrMapping/>
  </p:clrMapOvr>
  <p:extLst mod="1">
    <p:ext uri="{DCECCB84-F9BA-43D5-87BE-67443E8EF086}">
      <p15:sldGuideLst xmlns="" xmlns:p15="http://schemas.microsoft.com/office/powerpoint/2012/main">
        <p15:guide id="1" orient="horz" pos="2592">
          <p15:clr>
            <a:srgbClr val="FBAE40"/>
          </p15:clr>
        </p15:guide>
        <p15:guide id="2" pos="460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_full photo">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9906000" cy="6858000"/>
          </a:xfrm>
        </p:spPr>
        <p:txBody>
          <a:bodyPr/>
          <a:lstStyle/>
          <a:p>
            <a:endParaRPr lang="en-US" dirty="0"/>
          </a:p>
        </p:txBody>
      </p:sp>
      <p:sp>
        <p:nvSpPr>
          <p:cNvPr id="11" name="Title 10"/>
          <p:cNvSpPr>
            <a:spLocks noGrp="1"/>
          </p:cNvSpPr>
          <p:nvPr>
            <p:ph type="title"/>
          </p:nvPr>
        </p:nvSpPr>
        <p:spPr>
          <a:xfrm>
            <a:off x="2786063" y="342900"/>
            <a:ext cx="6810375" cy="2819400"/>
          </a:xfrm>
        </p:spPr>
        <p:txBody>
          <a:bodyPr>
            <a:noAutofit/>
          </a:bodyPr>
          <a:lstStyle>
            <a:lvl1pPr>
              <a:defRPr sz="4000" b="1">
                <a:latin typeface="IBM Plex Sans" panose="020B0503050000000000" pitchFamily="34" charset="0"/>
                <a:ea typeface="IBM Plex Sans" panose="020B0503050000000000" pitchFamily="34" charset="0"/>
                <a:cs typeface="Arial" charset="0"/>
              </a:defRPr>
            </a:lvl1pPr>
          </a:lstStyle>
          <a:p>
            <a:r>
              <a:rPr lang="en-US" dirty="0"/>
              <a:t>Click to edit Master title style</a:t>
            </a:r>
          </a:p>
        </p:txBody>
      </p:sp>
      <p:cxnSp>
        <p:nvCxnSpPr>
          <p:cNvPr id="4" name="Straight Connector 3"/>
          <p:cNvCxnSpPr/>
          <p:nvPr userDrawn="1"/>
        </p:nvCxnSpPr>
        <p:spPr>
          <a:xfrm>
            <a:off x="2476500" y="381000"/>
            <a:ext cx="0" cy="6096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582" y="6286881"/>
            <a:ext cx="386596" cy="192134"/>
          </a:xfrm>
          <a:prstGeom prst="rect">
            <a:avLst/>
          </a:prstGeom>
        </p:spPr>
      </p:pic>
      <p:pic>
        <p:nvPicPr>
          <p:cNvPr id="1026" name="Picture 2" descr="Finance background : Stock Photo">
            <a:extLst>
              <a:ext uri="{FF2B5EF4-FFF2-40B4-BE49-F238E27FC236}">
                <a16:creationId xmlns="" xmlns:a16="http://schemas.microsoft.com/office/drawing/2014/main" id="{A9A605E3-E7AE-9A4A-8F67-B7C01843046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 xmlns:a16="http://schemas.microsoft.com/office/drawing/2014/main" id="{9D467793-F15C-C94A-A87A-186FD0F9CDBF}"/>
              </a:ext>
            </a:extLst>
          </p:cNvPr>
          <p:cNvSpPr txBox="1"/>
          <p:nvPr userDrawn="1"/>
        </p:nvSpPr>
        <p:spPr>
          <a:xfrm>
            <a:off x="2786063" y="5737860"/>
            <a:ext cx="2878931" cy="647700"/>
          </a:xfrm>
          <a:prstGeom prst="rect">
            <a:avLst/>
          </a:prstGeom>
        </p:spPr>
        <p:txBody>
          <a:bodyPr wrap="square" lIns="0" tIns="0" rIns="0" bIns="0" rtlCol="0">
            <a:noAutofit/>
          </a:bodyPr>
          <a:lstStyle/>
          <a:p>
            <a:pPr defTabSz="804571" eaLnBrk="1" fontAlgn="auto" hangingPunct="1">
              <a:lnSpc>
                <a:spcPct val="105000"/>
              </a:lnSpc>
              <a:spcBef>
                <a:spcPts val="733"/>
              </a:spcBef>
              <a:spcAft>
                <a:spcPts val="0"/>
              </a:spcAft>
            </a:pPr>
            <a:r>
              <a:rPr lang="en-US" sz="1500" b="0" dirty="0">
                <a:solidFill>
                  <a:srgbClr val="FFFFFF"/>
                </a:solidFill>
                <a:latin typeface="IBM Plex Sans" charset="0"/>
                <a:ea typeface="IBM Plex Sans" charset="0"/>
                <a:cs typeface="IBM Plex Sans" charset="0"/>
              </a:rPr>
              <a:t>IBM </a:t>
            </a:r>
            <a:r>
              <a:rPr lang="en-US" sz="1500" dirty="0">
                <a:solidFill>
                  <a:srgbClr val="FFFFFF"/>
                </a:solidFill>
                <a:latin typeface="IBM Plex Sans" charset="0"/>
                <a:ea typeface="IBM Plex Sans" charset="0"/>
                <a:cs typeface="IBM Plex Sans" charset="0"/>
              </a:rPr>
              <a:t>Institute for Business Value</a:t>
            </a:r>
          </a:p>
        </p:txBody>
      </p:sp>
    </p:spTree>
    <p:extLst>
      <p:ext uri="{BB962C8B-B14F-4D97-AF65-F5344CB8AC3E}">
        <p14:creationId xmlns:p14="http://schemas.microsoft.com/office/powerpoint/2010/main" val="7797294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_large type">
    <p:spTree>
      <p:nvGrpSpPr>
        <p:cNvPr id="1" name=""/>
        <p:cNvGrpSpPr/>
        <p:nvPr/>
      </p:nvGrpSpPr>
      <p:grpSpPr>
        <a:xfrm>
          <a:off x="0" y="0"/>
          <a:ext cx="0" cy="0"/>
          <a:chOff x="0" y="0"/>
          <a:chExt cx="0" cy="0"/>
        </a:xfrm>
      </p:grpSpPr>
      <p:cxnSp>
        <p:nvCxnSpPr>
          <p:cNvPr id="4" name="Straight Connector 3"/>
          <p:cNvCxnSpPr/>
          <p:nvPr userDrawn="1"/>
        </p:nvCxnSpPr>
        <p:spPr>
          <a:xfrm>
            <a:off x="2476500" y="381000"/>
            <a:ext cx="0" cy="6096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582" y="6286881"/>
            <a:ext cx="386596" cy="192134"/>
          </a:xfrm>
          <a:prstGeom prst="rect">
            <a:avLst/>
          </a:prstGeom>
        </p:spPr>
      </p:pic>
      <p:sp>
        <p:nvSpPr>
          <p:cNvPr id="11" name="Title 10"/>
          <p:cNvSpPr>
            <a:spLocks noGrp="1"/>
          </p:cNvSpPr>
          <p:nvPr>
            <p:ph type="title"/>
          </p:nvPr>
        </p:nvSpPr>
        <p:spPr>
          <a:xfrm>
            <a:off x="2786063" y="342900"/>
            <a:ext cx="6810375" cy="4800600"/>
          </a:xfrm>
        </p:spPr>
        <p:txBody>
          <a:bodyPr>
            <a:noAutofit/>
          </a:bodyPr>
          <a:lstStyle>
            <a:lvl1pPr>
              <a:defRPr sz="4000" b="1"/>
            </a:lvl1pPr>
          </a:lstStyle>
          <a:p>
            <a:r>
              <a:rPr lang="en-US" dirty="0"/>
              <a:t>Click to edit Master title style</a:t>
            </a:r>
          </a:p>
        </p:txBody>
      </p:sp>
    </p:spTree>
    <p:extLst>
      <p:ext uri="{BB962C8B-B14F-4D97-AF65-F5344CB8AC3E}">
        <p14:creationId xmlns:p14="http://schemas.microsoft.com/office/powerpoint/2010/main" val="12135448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39082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ver_large type">
    <p:bg>
      <p:bgPr>
        <a:solidFill>
          <a:schemeClr val="bg2"/>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2476500" y="381000"/>
            <a:ext cx="0" cy="6096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580" y="6286881"/>
            <a:ext cx="386596" cy="192134"/>
          </a:xfrm>
          <a:prstGeom prst="rect">
            <a:avLst/>
          </a:prstGeom>
        </p:spPr>
      </p:pic>
      <p:sp>
        <p:nvSpPr>
          <p:cNvPr id="11" name="Title 10"/>
          <p:cNvSpPr>
            <a:spLocks noGrp="1"/>
          </p:cNvSpPr>
          <p:nvPr>
            <p:ph type="title"/>
          </p:nvPr>
        </p:nvSpPr>
        <p:spPr>
          <a:xfrm>
            <a:off x="2786063" y="342900"/>
            <a:ext cx="6810375" cy="4800600"/>
          </a:xfrm>
        </p:spPr>
        <p:txBody>
          <a:bodyPr>
            <a:noAutofit/>
          </a:bodyPr>
          <a:lstStyle>
            <a:lvl1pPr>
              <a:defRPr sz="4000" b="1">
                <a:solidFill>
                  <a:schemeClr val="tx1"/>
                </a:solidFill>
              </a:defRPr>
            </a:lvl1pPr>
          </a:lstStyle>
          <a:p>
            <a:r>
              <a:rPr lang="en-US" dirty="0"/>
              <a:t>Click to edit Master title style</a:t>
            </a:r>
          </a:p>
        </p:txBody>
      </p:sp>
      <p:sp>
        <p:nvSpPr>
          <p:cNvPr id="6" name="TextBox 5"/>
          <p:cNvSpPr txBox="1"/>
          <p:nvPr userDrawn="1"/>
        </p:nvSpPr>
        <p:spPr>
          <a:xfrm>
            <a:off x="2786063" y="5737860"/>
            <a:ext cx="2878931" cy="647700"/>
          </a:xfrm>
          <a:prstGeom prst="rect">
            <a:avLst/>
          </a:prstGeom>
        </p:spPr>
        <p:txBody>
          <a:bodyPr wrap="square" lIns="0" tIns="0" rIns="0" bIns="0" rtlCol="0">
            <a:noAutofit/>
          </a:bodyPr>
          <a:lstStyle/>
          <a:p>
            <a:pPr defTabSz="804571" eaLnBrk="1" fontAlgn="auto" hangingPunct="1">
              <a:lnSpc>
                <a:spcPct val="105000"/>
              </a:lnSpc>
              <a:spcBef>
                <a:spcPts val="733"/>
              </a:spcBef>
              <a:spcAft>
                <a:spcPts val="0"/>
              </a:spcAft>
            </a:pPr>
            <a:r>
              <a:rPr lang="en-US" sz="1500" b="0" dirty="0">
                <a:latin typeface="IBM Plex Sans" charset="0"/>
                <a:ea typeface="IBM Plex Sans" charset="0"/>
                <a:cs typeface="IBM Plex Sans" charset="0"/>
              </a:rPr>
              <a:t>IBM </a:t>
            </a:r>
            <a:r>
              <a:rPr lang="en-US" sz="1500" dirty="0">
                <a:latin typeface="IBM Plex Sans" charset="0"/>
                <a:ea typeface="IBM Plex Sans" charset="0"/>
                <a:cs typeface="IBM Plex Sans" charset="0"/>
              </a:rPr>
              <a:t>Industry Academy</a:t>
            </a:r>
            <a:r>
              <a:rPr lang="en-US" sz="1500" b="0" dirty="0">
                <a:latin typeface="IBM Plex Sans" charset="0"/>
                <a:ea typeface="IBM Plex Sans" charset="0"/>
                <a:cs typeface="IBM Plex Sans" charset="0"/>
              </a:rPr>
              <a:t/>
            </a:r>
            <a:br>
              <a:rPr lang="en-US" sz="1500" b="0" dirty="0">
                <a:latin typeface="IBM Plex Sans" charset="0"/>
                <a:ea typeface="IBM Plex Sans" charset="0"/>
                <a:cs typeface="IBM Plex Sans" charset="0"/>
              </a:rPr>
            </a:br>
            <a:r>
              <a:rPr lang="en-US" sz="1500" b="0" dirty="0">
                <a:latin typeface="IBM Plex Sans" charset="0"/>
                <a:ea typeface="IBM Plex Sans" charset="0"/>
                <a:cs typeface="IBM Plex Sans" charset="0"/>
              </a:rPr>
              <a:t>IBM </a:t>
            </a:r>
            <a:r>
              <a:rPr lang="en-US" sz="1500" dirty="0">
                <a:latin typeface="IBM Plex Sans" charset="0"/>
                <a:ea typeface="IBM Plex Sans" charset="0"/>
                <a:cs typeface="IBM Plex Sans" charset="0"/>
              </a:rPr>
              <a:t>Institute for Business Value</a:t>
            </a:r>
            <a:br>
              <a:rPr lang="en-US" sz="1500" dirty="0">
                <a:latin typeface="IBM Plex Sans" charset="0"/>
                <a:ea typeface="IBM Plex Sans" charset="0"/>
                <a:cs typeface="IBM Plex Sans" charset="0"/>
              </a:rPr>
            </a:br>
            <a:r>
              <a:rPr lang="en-US" sz="1500" b="0" dirty="0">
                <a:latin typeface="IBM Plex Sans" charset="0"/>
                <a:ea typeface="IBM Plex Sans" charset="0"/>
                <a:cs typeface="IBM Plex Sans" charset="0"/>
              </a:rPr>
              <a:t>IBM</a:t>
            </a:r>
            <a:r>
              <a:rPr lang="en-US" sz="1500" dirty="0">
                <a:latin typeface="IBM Plex Sans" charset="0"/>
                <a:ea typeface="IBM Plex Sans" charset="0"/>
                <a:cs typeface="IBM Plex Sans" charset="0"/>
              </a:rPr>
              <a:t> Research </a:t>
            </a:r>
          </a:p>
        </p:txBody>
      </p:sp>
    </p:spTree>
    <p:extLst>
      <p:ext uri="{BB962C8B-B14F-4D97-AF65-F5344CB8AC3E}">
        <p14:creationId xmlns:p14="http://schemas.microsoft.com/office/powerpoint/2010/main" val="18708952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_small type_dark">
    <p:bg>
      <p:bgPr>
        <a:solidFill>
          <a:schemeClr val="accent2"/>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2786062" y="407377"/>
            <a:ext cx="4643438" cy="990600"/>
          </a:xfrm>
        </p:spPr>
        <p:txBody>
          <a:bodyPr>
            <a:noAutofit/>
          </a:bodyPr>
          <a:lstStyle>
            <a:lvl1pPr marL="0" indent="0">
              <a:tabLst/>
              <a:defRPr sz="2600" b="1"/>
            </a:lvl1pPr>
          </a:lstStyle>
          <a:p>
            <a:r>
              <a:rPr lang="en-US" dirty="0"/>
              <a:t>Click to edit Master title style</a:t>
            </a:r>
          </a:p>
        </p:txBody>
      </p:sp>
      <p:cxnSp>
        <p:nvCxnSpPr>
          <p:cNvPr id="15" name="Straight Connector 14"/>
          <p:cNvCxnSpPr/>
          <p:nvPr userDrawn="1"/>
        </p:nvCxnSpPr>
        <p:spPr>
          <a:xfrm>
            <a:off x="1238250" y="381000"/>
            <a:ext cx="0" cy="6096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2476500" y="381000"/>
            <a:ext cx="0" cy="6096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582" y="6286881"/>
            <a:ext cx="386596" cy="192134"/>
          </a:xfrm>
          <a:prstGeom prst="rect">
            <a:avLst/>
          </a:prstGeom>
        </p:spPr>
      </p:pic>
      <p:cxnSp>
        <p:nvCxnSpPr>
          <p:cNvPr id="19" name="Straight Connector 18"/>
          <p:cNvCxnSpPr/>
          <p:nvPr userDrawn="1"/>
        </p:nvCxnSpPr>
        <p:spPr>
          <a:xfrm>
            <a:off x="402431" y="381000"/>
            <a:ext cx="0" cy="6096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711994" y="381000"/>
            <a:ext cx="0" cy="6096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247650" y="381000"/>
            <a:ext cx="0" cy="6096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userDrawn="1"/>
        </p:nvSpPr>
        <p:spPr>
          <a:xfrm>
            <a:off x="2786063" y="5737860"/>
            <a:ext cx="2878931" cy="647700"/>
          </a:xfrm>
          <a:prstGeom prst="rect">
            <a:avLst/>
          </a:prstGeom>
        </p:spPr>
        <p:txBody>
          <a:bodyPr wrap="square" lIns="0" tIns="0" rIns="0" bIns="0" rtlCol="0">
            <a:noAutofit/>
          </a:bodyPr>
          <a:lstStyle/>
          <a:p>
            <a:pPr defTabSz="804571" eaLnBrk="1" fontAlgn="auto" hangingPunct="1">
              <a:lnSpc>
                <a:spcPct val="105000"/>
              </a:lnSpc>
              <a:spcBef>
                <a:spcPts val="733"/>
              </a:spcBef>
              <a:spcAft>
                <a:spcPts val="0"/>
              </a:spcAft>
            </a:pPr>
            <a:r>
              <a:rPr lang="en-US" sz="1500" b="0" dirty="0">
                <a:solidFill>
                  <a:srgbClr val="FFFFFF"/>
                </a:solidFill>
                <a:latin typeface="IBM Plex Sans" charset="0"/>
                <a:ea typeface="IBM Plex Sans" charset="0"/>
                <a:cs typeface="IBM Plex Sans" charset="0"/>
              </a:rPr>
              <a:t>IBM </a:t>
            </a:r>
            <a:r>
              <a:rPr lang="en-US" sz="1500" dirty="0">
                <a:solidFill>
                  <a:srgbClr val="FFFFFF"/>
                </a:solidFill>
                <a:latin typeface="IBM Plex Sans" charset="0"/>
                <a:ea typeface="IBM Plex Sans" charset="0"/>
                <a:cs typeface="IBM Plex Sans" charset="0"/>
              </a:rPr>
              <a:t>Industry Academy</a:t>
            </a:r>
            <a:r>
              <a:rPr lang="en-US" sz="1500" b="0" dirty="0">
                <a:solidFill>
                  <a:srgbClr val="FFFFFF"/>
                </a:solidFill>
                <a:latin typeface="IBM Plex Sans" charset="0"/>
                <a:ea typeface="IBM Plex Sans" charset="0"/>
                <a:cs typeface="IBM Plex Sans" charset="0"/>
              </a:rPr>
              <a:t/>
            </a:r>
            <a:br>
              <a:rPr lang="en-US" sz="1500" b="0" dirty="0">
                <a:solidFill>
                  <a:srgbClr val="FFFFFF"/>
                </a:solidFill>
                <a:latin typeface="IBM Plex Sans" charset="0"/>
                <a:ea typeface="IBM Plex Sans" charset="0"/>
                <a:cs typeface="IBM Plex Sans" charset="0"/>
              </a:rPr>
            </a:br>
            <a:r>
              <a:rPr lang="en-US" sz="1500" b="0" dirty="0">
                <a:solidFill>
                  <a:srgbClr val="FFFFFF"/>
                </a:solidFill>
                <a:latin typeface="IBM Plex Sans" charset="0"/>
                <a:ea typeface="IBM Plex Sans" charset="0"/>
                <a:cs typeface="IBM Plex Sans" charset="0"/>
              </a:rPr>
              <a:t>IBM </a:t>
            </a:r>
            <a:r>
              <a:rPr lang="en-US" sz="1500" dirty="0">
                <a:solidFill>
                  <a:srgbClr val="FFFFFF"/>
                </a:solidFill>
                <a:latin typeface="IBM Plex Sans" charset="0"/>
                <a:ea typeface="IBM Plex Sans" charset="0"/>
                <a:cs typeface="IBM Plex Sans" charset="0"/>
              </a:rPr>
              <a:t>Institute for Business Value</a:t>
            </a:r>
            <a:br>
              <a:rPr lang="en-US" sz="1500" dirty="0">
                <a:solidFill>
                  <a:srgbClr val="FFFFFF"/>
                </a:solidFill>
                <a:latin typeface="IBM Plex Sans" charset="0"/>
                <a:ea typeface="IBM Plex Sans" charset="0"/>
                <a:cs typeface="IBM Plex Sans" charset="0"/>
              </a:rPr>
            </a:br>
            <a:r>
              <a:rPr lang="en-US" sz="1500" b="0" dirty="0">
                <a:solidFill>
                  <a:srgbClr val="FFFFFF"/>
                </a:solidFill>
                <a:latin typeface="IBM Plex Sans" charset="0"/>
                <a:ea typeface="IBM Plex Sans" charset="0"/>
                <a:cs typeface="IBM Plex Sans" charset="0"/>
              </a:rPr>
              <a:t>IBM</a:t>
            </a:r>
            <a:r>
              <a:rPr lang="en-US" sz="1500" dirty="0">
                <a:solidFill>
                  <a:srgbClr val="FFFFFF"/>
                </a:solidFill>
                <a:latin typeface="IBM Plex Sans" charset="0"/>
                <a:ea typeface="IBM Plex Sans" charset="0"/>
                <a:cs typeface="IBM Plex Sans" charset="0"/>
              </a:rPr>
              <a:t> Research </a:t>
            </a:r>
          </a:p>
        </p:txBody>
      </p:sp>
    </p:spTree>
    <p:extLst>
      <p:ext uri="{BB962C8B-B14F-4D97-AF65-F5344CB8AC3E}">
        <p14:creationId xmlns:p14="http://schemas.microsoft.com/office/powerpoint/2010/main" val="427131283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ver_small type_dark">
    <p:spTree>
      <p:nvGrpSpPr>
        <p:cNvPr id="1" name=""/>
        <p:cNvGrpSpPr/>
        <p:nvPr/>
      </p:nvGrpSpPr>
      <p:grpSpPr>
        <a:xfrm>
          <a:off x="0" y="0"/>
          <a:ext cx="0" cy="0"/>
          <a:chOff x="0" y="0"/>
          <a:chExt cx="0" cy="0"/>
        </a:xfrm>
      </p:grpSpPr>
      <p:sp>
        <p:nvSpPr>
          <p:cNvPr id="11" name="Title 10"/>
          <p:cNvSpPr>
            <a:spLocks noGrp="1"/>
          </p:cNvSpPr>
          <p:nvPr>
            <p:ph type="title"/>
          </p:nvPr>
        </p:nvSpPr>
        <p:spPr>
          <a:xfrm>
            <a:off x="2786062" y="407377"/>
            <a:ext cx="4643438" cy="990600"/>
          </a:xfrm>
        </p:spPr>
        <p:txBody>
          <a:bodyPr>
            <a:noAutofit/>
          </a:bodyPr>
          <a:lstStyle>
            <a:lvl1pPr marL="0" indent="0">
              <a:tabLst/>
              <a:defRPr sz="2600" b="1"/>
            </a:lvl1pPr>
          </a:lstStyle>
          <a:p>
            <a:r>
              <a:rPr lang="en-US" dirty="0"/>
              <a:t>Click to edit Master title style</a:t>
            </a:r>
          </a:p>
        </p:txBody>
      </p:sp>
      <p:cxnSp>
        <p:nvCxnSpPr>
          <p:cNvPr id="15" name="Straight Connector 14"/>
          <p:cNvCxnSpPr/>
          <p:nvPr userDrawn="1"/>
        </p:nvCxnSpPr>
        <p:spPr>
          <a:xfrm>
            <a:off x="1238250" y="381000"/>
            <a:ext cx="0" cy="6096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2476500" y="381000"/>
            <a:ext cx="0" cy="6096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582" y="6286881"/>
            <a:ext cx="386596" cy="192134"/>
          </a:xfrm>
          <a:prstGeom prst="rect">
            <a:avLst/>
          </a:prstGeom>
        </p:spPr>
      </p:pic>
      <p:cxnSp>
        <p:nvCxnSpPr>
          <p:cNvPr id="19" name="Straight Connector 18"/>
          <p:cNvCxnSpPr/>
          <p:nvPr userDrawn="1"/>
        </p:nvCxnSpPr>
        <p:spPr>
          <a:xfrm>
            <a:off x="402431" y="381000"/>
            <a:ext cx="0" cy="6096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711994" y="381000"/>
            <a:ext cx="0" cy="6096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247650" y="381000"/>
            <a:ext cx="0" cy="60960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534074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_small type_light">
    <p:bg>
      <p:bgPr>
        <a:solidFill>
          <a:schemeClr val="bg2"/>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2786062" y="407377"/>
            <a:ext cx="4643438" cy="990600"/>
          </a:xfrm>
        </p:spPr>
        <p:txBody>
          <a:bodyPr>
            <a:noAutofit/>
          </a:bodyPr>
          <a:lstStyle>
            <a:lvl1pPr>
              <a:defRPr sz="2600" b="1">
                <a:solidFill>
                  <a:schemeClr val="tx1"/>
                </a:solidFill>
              </a:defRPr>
            </a:lvl1pPr>
          </a:lstStyle>
          <a:p>
            <a:r>
              <a:rPr lang="en-US" dirty="0"/>
              <a:t>Click to edit Master title style</a:t>
            </a:r>
          </a:p>
        </p:txBody>
      </p:sp>
      <p:cxnSp>
        <p:nvCxnSpPr>
          <p:cNvPr id="15" name="Straight Connector 14"/>
          <p:cNvCxnSpPr/>
          <p:nvPr userDrawn="1"/>
        </p:nvCxnSpPr>
        <p:spPr>
          <a:xfrm>
            <a:off x="1238250" y="381000"/>
            <a:ext cx="0" cy="6096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2476500" y="381000"/>
            <a:ext cx="0" cy="6096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580" y="6286881"/>
            <a:ext cx="386596" cy="192134"/>
          </a:xfrm>
          <a:prstGeom prst="rect">
            <a:avLst/>
          </a:prstGeom>
        </p:spPr>
      </p:pic>
      <p:cxnSp>
        <p:nvCxnSpPr>
          <p:cNvPr id="12" name="Straight Connector 11"/>
          <p:cNvCxnSpPr/>
          <p:nvPr userDrawn="1"/>
        </p:nvCxnSpPr>
        <p:spPr>
          <a:xfrm>
            <a:off x="402431" y="381000"/>
            <a:ext cx="0" cy="6096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711994" y="381000"/>
            <a:ext cx="0" cy="6096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247650" y="381000"/>
            <a:ext cx="0" cy="6096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userDrawn="1"/>
        </p:nvSpPr>
        <p:spPr>
          <a:xfrm>
            <a:off x="2786063" y="5737860"/>
            <a:ext cx="2878931" cy="647700"/>
          </a:xfrm>
          <a:prstGeom prst="rect">
            <a:avLst/>
          </a:prstGeom>
        </p:spPr>
        <p:txBody>
          <a:bodyPr wrap="square" lIns="0" tIns="0" rIns="0" bIns="0" rtlCol="0">
            <a:noAutofit/>
          </a:bodyPr>
          <a:lstStyle/>
          <a:p>
            <a:pPr defTabSz="804571" eaLnBrk="1" fontAlgn="auto" hangingPunct="1">
              <a:lnSpc>
                <a:spcPct val="105000"/>
              </a:lnSpc>
              <a:spcBef>
                <a:spcPts val="733"/>
              </a:spcBef>
              <a:spcAft>
                <a:spcPts val="0"/>
              </a:spcAft>
            </a:pPr>
            <a:r>
              <a:rPr lang="en-US" sz="1500" b="0" dirty="0">
                <a:latin typeface="IBM Plex Sans" charset="0"/>
                <a:ea typeface="IBM Plex Sans" charset="0"/>
                <a:cs typeface="IBM Plex Sans" charset="0"/>
              </a:rPr>
              <a:t>IBM </a:t>
            </a:r>
            <a:r>
              <a:rPr lang="en-US" sz="1500" dirty="0">
                <a:latin typeface="IBM Plex Sans" charset="0"/>
                <a:ea typeface="IBM Plex Sans" charset="0"/>
                <a:cs typeface="IBM Plex Sans" charset="0"/>
              </a:rPr>
              <a:t>Industry Academy</a:t>
            </a:r>
            <a:r>
              <a:rPr lang="en-US" sz="1500" b="0" dirty="0">
                <a:latin typeface="IBM Plex Sans" charset="0"/>
                <a:ea typeface="IBM Plex Sans" charset="0"/>
                <a:cs typeface="IBM Plex Sans" charset="0"/>
              </a:rPr>
              <a:t/>
            </a:r>
            <a:br>
              <a:rPr lang="en-US" sz="1500" b="0" dirty="0">
                <a:latin typeface="IBM Plex Sans" charset="0"/>
                <a:ea typeface="IBM Plex Sans" charset="0"/>
                <a:cs typeface="IBM Plex Sans" charset="0"/>
              </a:rPr>
            </a:br>
            <a:r>
              <a:rPr lang="en-US" sz="1500" b="0" dirty="0">
                <a:latin typeface="IBM Plex Sans" charset="0"/>
                <a:ea typeface="IBM Plex Sans" charset="0"/>
                <a:cs typeface="IBM Plex Sans" charset="0"/>
              </a:rPr>
              <a:t>IBM </a:t>
            </a:r>
            <a:r>
              <a:rPr lang="en-US" sz="1500" dirty="0">
                <a:latin typeface="IBM Plex Sans" charset="0"/>
                <a:ea typeface="IBM Plex Sans" charset="0"/>
                <a:cs typeface="IBM Plex Sans" charset="0"/>
              </a:rPr>
              <a:t>Institute for Business Value</a:t>
            </a:r>
            <a:br>
              <a:rPr lang="en-US" sz="1500" dirty="0">
                <a:latin typeface="IBM Plex Sans" charset="0"/>
                <a:ea typeface="IBM Plex Sans" charset="0"/>
                <a:cs typeface="IBM Plex Sans" charset="0"/>
              </a:rPr>
            </a:br>
            <a:r>
              <a:rPr lang="en-US" sz="1500" b="0" dirty="0">
                <a:latin typeface="IBM Plex Sans" charset="0"/>
                <a:ea typeface="IBM Plex Sans" charset="0"/>
                <a:cs typeface="IBM Plex Sans" charset="0"/>
              </a:rPr>
              <a:t>IBM</a:t>
            </a:r>
            <a:r>
              <a:rPr lang="en-US" sz="1500" dirty="0">
                <a:latin typeface="IBM Plex Sans" charset="0"/>
                <a:ea typeface="IBM Plex Sans" charset="0"/>
                <a:cs typeface="IBM Plex Sans" charset="0"/>
              </a:rPr>
              <a:t> Research </a:t>
            </a:r>
          </a:p>
        </p:txBody>
      </p:sp>
    </p:spTree>
    <p:extLst>
      <p:ext uri="{BB962C8B-B14F-4D97-AF65-F5344CB8AC3E}">
        <p14:creationId xmlns:p14="http://schemas.microsoft.com/office/powerpoint/2010/main" val="25827920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End slide_dar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53389" y="2918460"/>
            <a:ext cx="1532334" cy="701040"/>
          </a:xfrm>
          <a:prstGeom prst="rect">
            <a:avLst/>
          </a:prstGeom>
        </p:spPr>
      </p:pic>
    </p:spTree>
    <p:extLst>
      <p:ext uri="{BB962C8B-B14F-4D97-AF65-F5344CB8AC3E}">
        <p14:creationId xmlns:p14="http://schemas.microsoft.com/office/powerpoint/2010/main" val="22779332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End slide_light">
    <p:bg>
      <p:bgPr>
        <a:solidFill>
          <a:schemeClr val="bg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53904" y="2918460"/>
            <a:ext cx="1531303" cy="701040"/>
          </a:xfrm>
          <a:prstGeom prst="rect">
            <a:avLst/>
          </a:prstGeom>
        </p:spPr>
      </p:pic>
    </p:spTree>
    <p:extLst>
      <p:ext uri="{BB962C8B-B14F-4D97-AF65-F5344CB8AC3E}">
        <p14:creationId xmlns:p14="http://schemas.microsoft.com/office/powerpoint/2010/main" val="221084286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4" name="Rectangle 3"/>
          <p:cNvSpPr/>
          <p:nvPr userDrawn="1"/>
        </p:nvSpPr>
        <p:spPr>
          <a:xfrm>
            <a:off x="2476500" y="0"/>
            <a:ext cx="74295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03" eaLnBrk="1" fontAlgn="auto" hangingPunct="1">
              <a:spcBef>
                <a:spcPts val="0"/>
              </a:spcBef>
              <a:spcAft>
                <a:spcPts val="0"/>
              </a:spcAft>
            </a:pPr>
            <a:endParaRPr lang="en-US" sz="1300" b="0" dirty="0">
              <a:solidFill>
                <a:srgbClr val="051243"/>
              </a:solidFill>
              <a:latin typeface="Arial Regular" charset="0"/>
            </a:endParaRPr>
          </a:p>
        </p:txBody>
      </p:sp>
      <p:sp>
        <p:nvSpPr>
          <p:cNvPr id="2" name="Title 1"/>
          <p:cNvSpPr>
            <a:spLocks noGrp="1"/>
          </p:cNvSpPr>
          <p:nvPr>
            <p:ph type="title"/>
          </p:nvPr>
        </p:nvSpPr>
        <p:spPr>
          <a:xfrm>
            <a:off x="309563" y="1714500"/>
            <a:ext cx="2012156" cy="30480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309563" y="220980"/>
            <a:ext cx="2012156" cy="6858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955" y="6515113"/>
            <a:ext cx="383309" cy="190500"/>
          </a:xfrm>
          <a:prstGeom prst="rect">
            <a:avLst/>
          </a:prstGeom>
        </p:spPr>
      </p:pic>
      <p:sp>
        <p:nvSpPr>
          <p:cNvPr id="9" name="Content Placeholder 2"/>
          <p:cNvSpPr>
            <a:spLocks noGrp="1"/>
          </p:cNvSpPr>
          <p:nvPr>
            <p:ph idx="10"/>
          </p:nvPr>
        </p:nvSpPr>
        <p:spPr>
          <a:xfrm>
            <a:off x="4953000" y="1714500"/>
            <a:ext cx="2321719" cy="4381500"/>
          </a:xfrm>
        </p:spPr>
        <p:txBody>
          <a:bodyPr tIns="0">
            <a:noAutofit/>
          </a:bodyPr>
          <a:lstStyle>
            <a:lvl1pPr>
              <a:defRPr>
                <a:solidFill>
                  <a:schemeClr val="tx1"/>
                </a:solidFill>
                <a:latin typeface="IBM Plex Sans" charset="0"/>
                <a:ea typeface="IBM Plex Sans" charset="0"/>
                <a:cs typeface="IBM Plex Sans" charset="0"/>
              </a:defRPr>
            </a:lvl1pPr>
            <a:lvl2pPr>
              <a:defRPr>
                <a:solidFill>
                  <a:schemeClr val="tx1"/>
                </a:solidFill>
                <a:latin typeface="IBM Plex Sans" charset="0"/>
                <a:ea typeface="IBM Plex Sans" charset="0"/>
                <a:cs typeface="IBM Plex Sans" charset="0"/>
              </a:defRPr>
            </a:lvl2pPr>
            <a:lvl3pPr>
              <a:defRPr>
                <a:solidFill>
                  <a:schemeClr val="tx1"/>
                </a:solidFill>
                <a:latin typeface="IBM Plex Sans" charset="0"/>
                <a:ea typeface="IBM Plex Sans" charset="0"/>
                <a:cs typeface="IBM Plex Sans" charset="0"/>
              </a:defRPr>
            </a:lvl3pPr>
            <a:lvl4pPr>
              <a:defRPr>
                <a:solidFill>
                  <a:schemeClr val="tx1"/>
                </a:solidFill>
                <a:latin typeface="IBM Plex Sans" charset="0"/>
                <a:ea typeface="IBM Plex Sans" charset="0"/>
                <a:cs typeface="IBM Plex Sans" charset="0"/>
              </a:defRPr>
            </a:lvl4pPr>
            <a:lvl5pPr>
              <a:defRPr>
                <a:solidFill>
                  <a:schemeClr val="tx1"/>
                </a:solidFill>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2631281" y="1714500"/>
            <a:ext cx="2166938" cy="4381500"/>
          </a:xfrm>
        </p:spPr>
        <p:txBody>
          <a:bodyPr tIns="0">
            <a:noAutofit/>
          </a:bodyPr>
          <a:lstStyle>
            <a:lvl1pPr>
              <a:defRPr>
                <a:solidFill>
                  <a:schemeClr val="tx1"/>
                </a:solidFill>
                <a:latin typeface="IBM Plex Sans" charset="0"/>
                <a:ea typeface="IBM Plex Sans" charset="0"/>
                <a:cs typeface="IBM Plex Sans" charset="0"/>
              </a:defRPr>
            </a:lvl1pPr>
            <a:lvl2pPr>
              <a:defRPr>
                <a:solidFill>
                  <a:schemeClr val="tx1"/>
                </a:solidFill>
                <a:latin typeface="IBM Plex Sans" charset="0"/>
                <a:ea typeface="IBM Plex Sans" charset="0"/>
                <a:cs typeface="IBM Plex Sans" charset="0"/>
              </a:defRPr>
            </a:lvl2pPr>
            <a:lvl3pPr>
              <a:defRPr>
                <a:solidFill>
                  <a:schemeClr val="tx1"/>
                </a:solidFill>
                <a:latin typeface="IBM Plex Sans" charset="0"/>
                <a:ea typeface="IBM Plex Sans" charset="0"/>
                <a:cs typeface="IBM Plex Sans" charset="0"/>
              </a:defRPr>
            </a:lvl3pPr>
            <a:lvl4pPr>
              <a:defRPr>
                <a:solidFill>
                  <a:schemeClr val="tx1"/>
                </a:solidFill>
                <a:latin typeface="IBM Plex Sans" charset="0"/>
                <a:ea typeface="IBM Plex Sans" charset="0"/>
                <a:cs typeface="IBM Plex Sans" charset="0"/>
              </a:defRPr>
            </a:lvl4pPr>
            <a:lvl5pPr>
              <a:defRPr>
                <a:solidFill>
                  <a:schemeClr val="tx1"/>
                </a:solidFill>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7429500" y="1714500"/>
            <a:ext cx="2321719" cy="4381500"/>
          </a:xfrm>
        </p:spPr>
        <p:txBody>
          <a:bodyPr tIns="0">
            <a:noAutofit/>
          </a:bodyPr>
          <a:lstStyle>
            <a:lvl1pPr>
              <a:defRPr>
                <a:solidFill>
                  <a:schemeClr val="tx1"/>
                </a:solidFill>
                <a:latin typeface="IBM Plex Sans" charset="0"/>
                <a:ea typeface="IBM Plex Sans" charset="0"/>
                <a:cs typeface="IBM Plex Sans" charset="0"/>
              </a:defRPr>
            </a:lvl1pPr>
            <a:lvl2pPr>
              <a:defRPr>
                <a:solidFill>
                  <a:schemeClr val="tx1"/>
                </a:solidFill>
                <a:latin typeface="IBM Plex Sans" charset="0"/>
                <a:ea typeface="IBM Plex Sans" charset="0"/>
                <a:cs typeface="IBM Plex Sans" charset="0"/>
              </a:defRPr>
            </a:lvl2pPr>
            <a:lvl3pPr>
              <a:defRPr>
                <a:solidFill>
                  <a:schemeClr val="tx1"/>
                </a:solidFill>
                <a:latin typeface="IBM Plex Sans" charset="0"/>
                <a:ea typeface="IBM Plex Sans" charset="0"/>
                <a:cs typeface="IBM Plex Sans" charset="0"/>
              </a:defRPr>
            </a:lvl3pPr>
            <a:lvl4pPr>
              <a:defRPr>
                <a:solidFill>
                  <a:schemeClr val="tx1"/>
                </a:solidFill>
                <a:latin typeface="IBM Plex Sans" charset="0"/>
                <a:ea typeface="IBM Plex Sans" charset="0"/>
                <a:cs typeface="IBM Plex Sans" charset="0"/>
              </a:defRPr>
            </a:lvl4pPr>
            <a:lvl5pPr>
              <a:defRPr>
                <a:solidFill>
                  <a:schemeClr val="tx1"/>
                </a:solidFill>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3"/>
          <p:cNvSpPr>
            <a:spLocks noGrp="1"/>
          </p:cNvSpPr>
          <p:nvPr>
            <p:ph type="body" sz="quarter" idx="14" hasCustomPrompt="1"/>
          </p:nvPr>
        </p:nvSpPr>
        <p:spPr>
          <a:xfrm>
            <a:off x="309562" y="6096000"/>
            <a:ext cx="2043113" cy="403860"/>
          </a:xfrm>
        </p:spPr>
        <p:txBody>
          <a:bodyPr tIns="0" anchor="b"/>
          <a:lstStyle>
            <a:lvl1pPr>
              <a:defRPr sz="600" b="0">
                <a:solidFill>
                  <a:schemeClr val="bg2">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
        <p:nvSpPr>
          <p:cNvPr id="14" name="Footer Placeholder 3"/>
          <p:cNvSpPr txBox="1">
            <a:spLocks/>
          </p:cNvSpPr>
          <p:nvPr userDrawn="1"/>
        </p:nvSpPr>
        <p:spPr>
          <a:xfrm>
            <a:off x="2631281" y="6583680"/>
            <a:ext cx="2693194"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000000">
                    <a:alpha val="60000"/>
                  </a:srgbClr>
                </a:solidFill>
                <a:latin typeface="IBM Plex Sans" charset="0"/>
                <a:ea typeface="IBM Plex Sans" charset="0"/>
                <a:cs typeface="IBM Plex Sans" charset="0"/>
              </a:rPr>
              <a:t>IBM Institute for Business Value</a:t>
            </a:r>
          </a:p>
        </p:txBody>
      </p:sp>
    </p:spTree>
    <p:extLst>
      <p:ext uri="{BB962C8B-B14F-4D97-AF65-F5344CB8AC3E}">
        <p14:creationId xmlns:p14="http://schemas.microsoft.com/office/powerpoint/2010/main" val="38823140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2-8_Title and Content">
    <p:spTree>
      <p:nvGrpSpPr>
        <p:cNvPr id="1" name=""/>
        <p:cNvGrpSpPr/>
        <p:nvPr/>
      </p:nvGrpSpPr>
      <p:grpSpPr>
        <a:xfrm>
          <a:off x="0" y="0"/>
          <a:ext cx="0" cy="0"/>
          <a:chOff x="0" y="0"/>
          <a:chExt cx="0" cy="0"/>
        </a:xfrm>
      </p:grpSpPr>
      <p:sp>
        <p:nvSpPr>
          <p:cNvPr id="4" name="Rectangle 3"/>
          <p:cNvSpPr/>
          <p:nvPr userDrawn="1"/>
        </p:nvSpPr>
        <p:spPr>
          <a:xfrm>
            <a:off x="2476500" y="0"/>
            <a:ext cx="74295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03" eaLnBrk="1" fontAlgn="auto" hangingPunct="1">
              <a:spcBef>
                <a:spcPts val="0"/>
              </a:spcBef>
              <a:spcAft>
                <a:spcPts val="0"/>
              </a:spcAft>
              <a:defRPr/>
            </a:pPr>
            <a:endParaRPr lang="en-US" sz="1600" b="0" dirty="0">
              <a:solidFill>
                <a:srgbClr val="051243"/>
              </a:solidFill>
              <a:latin typeface="Arial Regular" charset="0"/>
            </a:endParaRPr>
          </a:p>
        </p:txBody>
      </p:sp>
      <p:sp>
        <p:nvSpPr>
          <p:cNvPr id="2" name="Title 1"/>
          <p:cNvSpPr>
            <a:spLocks noGrp="1"/>
          </p:cNvSpPr>
          <p:nvPr>
            <p:ph type="title"/>
          </p:nvPr>
        </p:nvSpPr>
        <p:spPr>
          <a:xfrm>
            <a:off x="309563" y="1714500"/>
            <a:ext cx="2012156" cy="3048000"/>
          </a:xfrm>
        </p:spPr>
        <p:txBody>
          <a:bodyPr tIns="167632">
            <a:noAutofit/>
          </a:bodyPr>
          <a:lstStyle/>
          <a:p>
            <a:r>
              <a:rPr lang="en-US" dirty="0"/>
              <a:t>Click to edit Master title style</a:t>
            </a:r>
          </a:p>
        </p:txBody>
      </p:sp>
      <p:sp>
        <p:nvSpPr>
          <p:cNvPr id="5" name="Text Placeholder 4"/>
          <p:cNvSpPr>
            <a:spLocks noGrp="1"/>
          </p:cNvSpPr>
          <p:nvPr>
            <p:ph type="body" sz="quarter" idx="11"/>
          </p:nvPr>
        </p:nvSpPr>
        <p:spPr>
          <a:xfrm>
            <a:off x="309563" y="220980"/>
            <a:ext cx="2012156" cy="6858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2954" y="6515113"/>
            <a:ext cx="383309" cy="190500"/>
          </a:xfrm>
          <a:prstGeom prst="rect">
            <a:avLst/>
          </a:prstGeom>
        </p:spPr>
      </p:pic>
      <p:sp>
        <p:nvSpPr>
          <p:cNvPr id="13" name="Text Placeholder 23"/>
          <p:cNvSpPr>
            <a:spLocks noGrp="1"/>
          </p:cNvSpPr>
          <p:nvPr>
            <p:ph type="body" sz="quarter" idx="14" hasCustomPrompt="1"/>
          </p:nvPr>
        </p:nvSpPr>
        <p:spPr>
          <a:xfrm>
            <a:off x="309564" y="6096000"/>
            <a:ext cx="2043113" cy="403860"/>
          </a:xfrm>
        </p:spPr>
        <p:txBody>
          <a:bodyPr tIns="0" anchor="b"/>
          <a:lstStyle>
            <a:lvl1pPr>
              <a:defRPr sz="600" b="0">
                <a:solidFill>
                  <a:schemeClr val="bg2">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
        <p:nvSpPr>
          <p:cNvPr id="15" name="Footer Placeholder 3"/>
          <p:cNvSpPr txBox="1">
            <a:spLocks/>
          </p:cNvSpPr>
          <p:nvPr userDrawn="1"/>
        </p:nvSpPr>
        <p:spPr>
          <a:xfrm>
            <a:off x="2631281" y="6583680"/>
            <a:ext cx="154674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502877" fontAlgn="auto">
              <a:spcBef>
                <a:spcPts val="0"/>
              </a:spcBef>
              <a:spcAft>
                <a:spcPts val="0"/>
              </a:spcAft>
              <a:defRPr/>
            </a:pPr>
            <a:r>
              <a:rPr lang="en-US" sz="600" b="0" dirty="0">
                <a:solidFill>
                  <a:srgbClr val="000000">
                    <a:alpha val="60000"/>
                  </a:srgbClr>
                </a:solidFill>
                <a:latin typeface="IBM Plex Sans" charset="0"/>
                <a:ea typeface="IBM Plex Sans" charset="0"/>
                <a:cs typeface="IBM Plex Sans" charset="0"/>
              </a:rPr>
              <a:t>IBM Institute for Business Value</a:t>
            </a:r>
          </a:p>
        </p:txBody>
      </p:sp>
    </p:spTree>
    <p:extLst>
      <p:ext uri="{BB962C8B-B14F-4D97-AF65-F5344CB8AC3E}">
        <p14:creationId xmlns:p14="http://schemas.microsoft.com/office/powerpoint/2010/main" val="13891252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6" name="Rectangle 5"/>
          <p:cNvSpPr/>
          <p:nvPr userDrawn="1"/>
        </p:nvSpPr>
        <p:spPr>
          <a:xfrm flipV="1">
            <a:off x="0" y="0"/>
            <a:ext cx="9906000" cy="1714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hasCustomPrompt="1"/>
          </p:nvPr>
        </p:nvSpPr>
        <p:spPr>
          <a:xfrm>
            <a:off x="309562" y="571500"/>
            <a:ext cx="8358188" cy="952500"/>
          </a:xfrm>
        </p:spPr>
        <p:txBody>
          <a:bodyPr>
            <a:noAutofit/>
          </a:bodyPr>
          <a:lstStyle>
            <a:lvl1pPr>
              <a:defRPr>
                <a:solidFill>
                  <a:schemeClr val="bg2"/>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4488656" cy="43815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4953000" y="1714500"/>
            <a:ext cx="4643438" cy="43815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309562" y="6118860"/>
            <a:ext cx="4519613" cy="381000"/>
          </a:xfr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Tree>
    <p:extLst>
      <p:ext uri="{BB962C8B-B14F-4D97-AF65-F5344CB8AC3E}">
        <p14:creationId xmlns:p14="http://schemas.microsoft.com/office/powerpoint/2010/main" val="16067742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0" name="Rectangle 9"/>
          <p:cNvSpPr/>
          <p:nvPr userDrawn="1"/>
        </p:nvSpPr>
        <p:spPr>
          <a:xfrm flipV="1">
            <a:off x="0" y="0"/>
            <a:ext cx="9906000" cy="1714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hasCustomPrompt="1"/>
          </p:nvPr>
        </p:nvSpPr>
        <p:spPr>
          <a:xfrm>
            <a:off x="309562" y="571500"/>
            <a:ext cx="8358188" cy="952500"/>
          </a:xfrm>
        </p:spPr>
        <p:txBody>
          <a:bodyPr>
            <a:noAutofit/>
          </a:bodyPr>
          <a:lstStyle>
            <a:lvl1pPr>
              <a:defRPr>
                <a:solidFill>
                  <a:schemeClr val="bg2"/>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9563" y="1714500"/>
            <a:ext cx="2012156"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4953000" y="1714500"/>
            <a:ext cx="2321719"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2476500" y="1714500"/>
            <a:ext cx="2321719"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7429500" y="1714500"/>
            <a:ext cx="2321719" cy="4381500"/>
          </a:xfrm>
        </p:spPr>
        <p:txBody>
          <a:bodyPr tIns="167632">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3"/>
          <p:cNvSpPr>
            <a:spLocks noGrp="1"/>
          </p:cNvSpPr>
          <p:nvPr>
            <p:ph type="body" sz="quarter" idx="14" hasCustomPrompt="1"/>
          </p:nvPr>
        </p:nvSpPr>
        <p:spPr>
          <a:xfrm>
            <a:off x="309562" y="6118860"/>
            <a:ext cx="4519613" cy="381000"/>
          </a:xfr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Tree>
    <p:extLst>
      <p:ext uri="{BB962C8B-B14F-4D97-AF65-F5344CB8AC3E}">
        <p14:creationId xmlns:p14="http://schemas.microsoft.com/office/powerpoint/2010/main" val="3845993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3-3_Title only">
    <p:spTree>
      <p:nvGrpSpPr>
        <p:cNvPr id="1" name=""/>
        <p:cNvGrpSpPr/>
        <p:nvPr/>
      </p:nvGrpSpPr>
      <p:grpSpPr>
        <a:xfrm>
          <a:off x="0" y="0"/>
          <a:ext cx="0" cy="0"/>
          <a:chOff x="0" y="0"/>
          <a:chExt cx="0" cy="0"/>
        </a:xfrm>
      </p:grpSpPr>
      <p:sp>
        <p:nvSpPr>
          <p:cNvPr id="20" name="Rectangle 19"/>
          <p:cNvSpPr/>
          <p:nvPr userDrawn="1"/>
        </p:nvSpPr>
        <p:spPr>
          <a:xfrm flipV="1">
            <a:off x="0" y="0"/>
            <a:ext cx="9906000" cy="1714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53" tIns="33526" rIns="67053" bIns="33526" numCol="1" spcCol="0" rtlCol="0" fromWordArt="0" anchor="ctr" anchorCtr="0" forceAA="0" compatLnSpc="1">
            <a:prstTxWarp prst="textNoShape">
              <a:avLst/>
            </a:prstTxWarp>
            <a:noAutofit/>
          </a:bodyPr>
          <a:lstStyle/>
          <a:p>
            <a:pPr algn="ctr" defTabSz="804635" eaLnBrk="1" fontAlgn="auto" hangingPunct="1">
              <a:spcBef>
                <a:spcPts val="0"/>
              </a:spcBef>
              <a:spcAft>
                <a:spcPts val="0"/>
              </a:spcAft>
            </a:pPr>
            <a:endParaRPr lang="en-US" sz="1600" b="0" dirty="0">
              <a:solidFill>
                <a:srgbClr val="051243"/>
              </a:solidFill>
              <a:latin typeface="Arial Regular" charset="0"/>
            </a:endParaRPr>
          </a:p>
        </p:txBody>
      </p:sp>
      <p:sp>
        <p:nvSpPr>
          <p:cNvPr id="2" name="Title 1"/>
          <p:cNvSpPr>
            <a:spLocks noGrp="1"/>
          </p:cNvSpPr>
          <p:nvPr>
            <p:ph type="title" hasCustomPrompt="1"/>
          </p:nvPr>
        </p:nvSpPr>
        <p:spPr>
          <a:xfrm>
            <a:off x="309562" y="571500"/>
            <a:ext cx="8358188" cy="952500"/>
          </a:xfrm>
        </p:spPr>
        <p:txBody>
          <a:bodyPr>
            <a:noAutofit/>
          </a:body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309563" y="220980"/>
            <a:ext cx="4457700" cy="228600"/>
          </a:xfrm>
        </p:spPr>
        <p:txBody>
          <a:bodyPr tIns="0">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309562" y="6118860"/>
            <a:ext cx="4519613" cy="381000"/>
          </a:xfrm>
        </p:spPr>
        <p:txBody>
          <a:bodyPr tIns="0" anchor="b"/>
          <a:lstStyle>
            <a:lvl1pPr>
              <a:defRPr sz="600" b="0">
                <a:solidFill>
                  <a:schemeClr val="tx1">
                    <a:alpha val="70000"/>
                  </a:schemeClr>
                </a:solidFill>
              </a:defRPr>
            </a:lvl1pPr>
            <a:lvl2pPr>
              <a:defRPr sz="700"/>
            </a:lvl2pPr>
            <a:lvl3pPr>
              <a:defRPr sz="700"/>
            </a:lvl3pPr>
            <a:lvl4pPr>
              <a:defRPr sz="700"/>
            </a:lvl4pPr>
            <a:lvl5pPr>
              <a:defRPr sz="700"/>
            </a:lvl5pPr>
          </a:lstStyle>
          <a:p>
            <a:pPr lvl="0"/>
            <a:r>
              <a:rPr lang="en-US" dirty="0"/>
              <a:t>Source: Edit source here</a:t>
            </a:r>
          </a:p>
        </p:txBody>
      </p:sp>
    </p:spTree>
    <p:extLst>
      <p:ext uri="{BB962C8B-B14F-4D97-AF65-F5344CB8AC3E}">
        <p14:creationId xmlns:p14="http://schemas.microsoft.com/office/powerpoint/2010/main" val="3344270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image" Target="../media/image5.png"/><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10" Type="http://schemas.openxmlformats.org/officeDocument/2006/relationships/image" Target="../media/image6.png"/><Relationship Id="rId4" Type="http://schemas.openxmlformats.org/officeDocument/2006/relationships/slideLayout" Target="../slideLayouts/slideLayout3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image" Target="../media/image6.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heme" Target="../theme/theme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96863" y="457200"/>
            <a:ext cx="9312275"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ko-KR" dirty="0" smtClean="0"/>
              <a:t>Click to edit Master title style</a:t>
            </a:r>
          </a:p>
        </p:txBody>
      </p:sp>
      <p:sp>
        <p:nvSpPr>
          <p:cNvPr id="1027" name="Rectangle 3"/>
          <p:cNvSpPr>
            <a:spLocks noGrp="1" noChangeArrowheads="1"/>
          </p:cNvSpPr>
          <p:nvPr>
            <p:ph type="body" idx="1"/>
          </p:nvPr>
        </p:nvSpPr>
        <p:spPr bwMode="auto">
          <a:xfrm>
            <a:off x="198438" y="1863725"/>
            <a:ext cx="9410700" cy="4491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ko-KR" smtClean="0"/>
              <a:t>Click to edit Master text styles</a:t>
            </a:r>
          </a:p>
          <a:p>
            <a:pPr lvl="1"/>
            <a:r>
              <a:rPr lang="en-US" altLang="ko-KR" smtClean="0"/>
              <a:t>Second level</a:t>
            </a:r>
          </a:p>
          <a:p>
            <a:pPr lvl="2"/>
            <a:r>
              <a:rPr lang="en-US" altLang="ko-KR" smtClean="0"/>
              <a:t>Third level</a:t>
            </a:r>
          </a:p>
        </p:txBody>
      </p:sp>
      <p:sp>
        <p:nvSpPr>
          <p:cNvPr id="1028" name="Line 4"/>
          <p:cNvSpPr>
            <a:spLocks noChangeShapeType="1"/>
          </p:cNvSpPr>
          <p:nvPr/>
        </p:nvSpPr>
        <p:spPr bwMode="auto">
          <a:xfrm flipV="1">
            <a:off x="296863" y="1323975"/>
            <a:ext cx="93122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ko-KR" altLang="en-US"/>
          </a:p>
        </p:txBody>
      </p:sp>
      <p:sp>
        <p:nvSpPr>
          <p:cNvPr id="15" name="Rectangle 6"/>
          <p:cNvSpPr>
            <a:spLocks noChangeArrowheads="1"/>
          </p:cNvSpPr>
          <p:nvPr/>
        </p:nvSpPr>
        <p:spPr bwMode="black">
          <a:xfrm>
            <a:off x="8221663" y="6537325"/>
            <a:ext cx="1485900" cy="184150"/>
          </a:xfrm>
          <a:prstGeom prst="rect">
            <a:avLst/>
          </a:prstGeom>
          <a:noFill/>
          <a:ln w="9525">
            <a:noFill/>
            <a:miter lim="800000"/>
            <a:headEnd/>
            <a:tailEnd/>
          </a:ln>
        </p:spPr>
        <p:txBody>
          <a:bodyPr lIns="92075" tIns="46038" rIns="92075" bIns="46038"/>
          <a:lstStyle>
            <a:lvl1pPr>
              <a:defRPr sz="1200">
                <a:solidFill>
                  <a:schemeClr val="tx1"/>
                </a:solidFill>
                <a:latin typeface="Arial" panose="020B0604020202020204" pitchFamily="34" charset="0"/>
                <a:cs typeface="Arial" panose="020B0604020202020204" pitchFamily="34" charset="0"/>
              </a:defRPr>
            </a:lvl1pPr>
            <a:lvl2pPr marL="742950" indent="-285750">
              <a:defRPr sz="1200">
                <a:solidFill>
                  <a:schemeClr val="tx1"/>
                </a:solidFill>
                <a:latin typeface="Arial" panose="020B0604020202020204" pitchFamily="34" charset="0"/>
                <a:cs typeface="Arial" panose="020B0604020202020204" pitchFamily="34" charset="0"/>
              </a:defRPr>
            </a:lvl2pPr>
            <a:lvl3pPr marL="1143000" indent="-228600">
              <a:defRPr sz="1200">
                <a:solidFill>
                  <a:schemeClr val="tx1"/>
                </a:solidFill>
                <a:latin typeface="Arial" panose="020B0604020202020204" pitchFamily="34" charset="0"/>
                <a:cs typeface="Arial" panose="020B0604020202020204" pitchFamily="34" charset="0"/>
              </a:defRPr>
            </a:lvl3pPr>
            <a:lvl4pPr marL="1600200" indent="-228600">
              <a:defRPr sz="1200">
                <a:solidFill>
                  <a:schemeClr val="tx1"/>
                </a:solidFill>
                <a:latin typeface="Arial" panose="020B0604020202020204" pitchFamily="34" charset="0"/>
                <a:cs typeface="Arial" panose="020B0604020202020204" pitchFamily="34" charset="0"/>
              </a:defRPr>
            </a:lvl4pPr>
            <a:lvl5pPr marL="2057400" indent="-22860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r" eaLnBrk="1" hangingPunct="1">
              <a:defRPr/>
            </a:pPr>
            <a:r>
              <a:rPr lang="en-US" altLang="ko-KR" sz="800" b="0" dirty="0">
                <a:ea typeface="굴림" panose="020B0600000101010101" pitchFamily="50" charset="-127"/>
              </a:rPr>
              <a:t>© </a:t>
            </a:r>
            <a:r>
              <a:rPr lang="en-US" altLang="ko-KR" sz="800" b="0" dirty="0" smtClean="0">
                <a:ea typeface="굴림" panose="020B0600000101010101" pitchFamily="50" charset="-127"/>
              </a:rPr>
              <a:t>2022</a:t>
            </a:r>
            <a:r>
              <a:rPr lang="en-US" altLang="ko-KR" sz="800" b="0" baseline="0" dirty="0" smtClean="0">
                <a:ea typeface="굴림" panose="020B0600000101010101" pitchFamily="50" charset="-127"/>
              </a:rPr>
              <a:t> </a:t>
            </a:r>
            <a:r>
              <a:rPr lang="en-US" altLang="ko-KR" sz="800" b="0" baseline="0" dirty="0" err="1" smtClean="0">
                <a:ea typeface="굴림" panose="020B0600000101010101" pitchFamily="50" charset="-127"/>
              </a:rPr>
              <a:t>Codestates</a:t>
            </a:r>
            <a:endParaRPr lang="en-US" altLang="ko-KR" sz="800" b="0" baseline="0" dirty="0" smtClean="0">
              <a:ea typeface="굴림" panose="020B0600000101010101" pitchFamily="50" charset="-127"/>
            </a:endParaRPr>
          </a:p>
          <a:p>
            <a:pPr algn="r" eaLnBrk="1" hangingPunct="1">
              <a:defRPr/>
            </a:pPr>
            <a:endParaRPr lang="en-US" altLang="ko-KR" sz="1800" b="0" dirty="0">
              <a:ea typeface="굴림" panose="020B0600000101010101" pitchFamily="50" charset="-127"/>
            </a:endParaRPr>
          </a:p>
        </p:txBody>
      </p:sp>
      <p:sp>
        <p:nvSpPr>
          <p:cNvPr id="448518" name="Rectangle 6"/>
          <p:cNvSpPr>
            <a:spLocks noGrp="1" noChangeArrowheads="1"/>
          </p:cNvSpPr>
          <p:nvPr>
            <p:ph type="sldNum" sz="quarter" idx="4"/>
          </p:nvPr>
        </p:nvSpPr>
        <p:spPr bwMode="black">
          <a:xfrm>
            <a:off x="4748213" y="6637338"/>
            <a:ext cx="396875"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lgn="ctr" eaLnBrk="1" hangingPunct="1">
              <a:defRPr sz="800" b="0">
                <a:solidFill>
                  <a:schemeClr val="tx1"/>
                </a:solidFill>
                <a:ea typeface="굴림" pitchFamily="50" charset="-127"/>
              </a:defRPr>
            </a:lvl1pPr>
          </a:lstStyle>
          <a:p>
            <a:fld id="{F5AE1851-E942-4393-B0C2-003E5B34240E}" type="slidenum">
              <a:rPr lang="ko-KR" altLang="en-US"/>
              <a:pPr/>
              <a:t>‹#›</a:t>
            </a:fld>
            <a:endParaRPr lang="en-US" altLang="ko-KR"/>
          </a:p>
        </p:txBody>
      </p:sp>
      <p:sp>
        <p:nvSpPr>
          <p:cNvPr id="9" name="Rectangle 2"/>
          <p:cNvSpPr txBox="1">
            <a:spLocks noChangeArrowheads="1"/>
          </p:cNvSpPr>
          <p:nvPr userDrawn="1"/>
        </p:nvSpPr>
        <p:spPr bwMode="auto">
          <a:xfrm>
            <a:off x="8336280" y="57376"/>
            <a:ext cx="1371283"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r>
              <a:rPr lang="en-US" altLang="ko-KR" sz="1200" dirty="0" smtClean="0"/>
              <a:t>NFT </a:t>
            </a:r>
            <a:r>
              <a:rPr lang="ko-KR" altLang="en-US" sz="1200" dirty="0" err="1" smtClean="0"/>
              <a:t>깐부</a:t>
            </a:r>
            <a:r>
              <a:rPr lang="ko-KR" altLang="en-US" sz="1200" dirty="0" smtClean="0"/>
              <a:t> 플랫폼</a:t>
            </a:r>
            <a:endParaRPr lang="en-US" altLang="ko-KR" sz="1200" dirty="0" smtClean="0"/>
          </a:p>
        </p:txBody>
      </p:sp>
    </p:spTree>
  </p:cSld>
  <p:clrMap bg1="lt1" tx1="dk1" bg2="lt2" tx2="dk2" accent1="accent1" accent2="accent2" accent3="accent3" accent4="accent4" accent5="accent5" accent6="accent6" hlink="hlink" folHlink="folHlink"/>
  <p:sldLayoutIdLst>
    <p:sldLayoutId id="2147484274" r:id="rId1"/>
    <p:sldLayoutId id="2147484272" r:id="rId2"/>
    <p:sldLayoutId id="2147484275" r:id="rId3"/>
  </p:sldLayoutIdLst>
  <p:timing>
    <p:tnLst>
      <p:par>
        <p:cTn id="1" dur="indefinite" restart="never" nodeType="tmRoot"/>
      </p:par>
    </p:tnLst>
  </p:timing>
  <p:hf hdr="0"/>
  <p:txStyles>
    <p:title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p:titleStyle>
    <p:bodyStyle>
      <a:lvl1pPr marL="173038" indent="-173038" algn="l" rtl="0" eaLnBrk="0" fontAlgn="base" hangingPunct="0">
        <a:spcBef>
          <a:spcPct val="20000"/>
        </a:spcBef>
        <a:spcAft>
          <a:spcPct val="0"/>
        </a:spcAft>
        <a:buClr>
          <a:schemeClr val="tx1"/>
        </a:buClr>
        <a:buFont typeface="Wingdings" pitchFamily="2" charset="2"/>
        <a:buChar char="§"/>
        <a:defRPr sz="1600">
          <a:solidFill>
            <a:schemeClr val="tx1"/>
          </a:solidFill>
          <a:latin typeface="+mn-lt"/>
          <a:ea typeface="맑은 고딕" panose="020B0503020000020004" pitchFamily="50" charset="-127"/>
          <a:cs typeface="+mn-cs"/>
        </a:defRPr>
      </a:lvl1pPr>
      <a:lvl2pPr marL="509588" indent="-163513" algn="l" rtl="0" eaLnBrk="0" fontAlgn="base" hangingPunct="0">
        <a:spcBef>
          <a:spcPct val="20000"/>
        </a:spcBef>
        <a:spcAft>
          <a:spcPct val="0"/>
        </a:spcAft>
        <a:buClr>
          <a:schemeClr val="tx1"/>
        </a:buClr>
        <a:buFont typeface="Arial" pitchFamily="34" charset="0"/>
        <a:buChar char="–"/>
        <a:defRPr sz="1600">
          <a:solidFill>
            <a:schemeClr val="tx1"/>
          </a:solidFill>
          <a:latin typeface="+mn-lt"/>
          <a:ea typeface="맑은 고딕" panose="020B0503020000020004" pitchFamily="50" charset="-127"/>
          <a:cs typeface="+mn-cs"/>
        </a:defRPr>
      </a:lvl2pPr>
      <a:lvl3pPr marL="855663" indent="-173038" algn="l" rtl="0" eaLnBrk="0" fontAlgn="base" hangingPunct="0">
        <a:spcBef>
          <a:spcPct val="20000"/>
        </a:spcBef>
        <a:spcAft>
          <a:spcPct val="0"/>
        </a:spcAft>
        <a:buClr>
          <a:schemeClr val="tx1"/>
        </a:buClr>
        <a:buChar char="•"/>
        <a:defRPr sz="1600">
          <a:solidFill>
            <a:schemeClr val="tx1"/>
          </a:solidFill>
          <a:latin typeface="+mn-lt"/>
          <a:ea typeface="맑은 고딕" panose="020B0503020000020004" pitchFamily="50" charset="-127"/>
          <a:cs typeface="+mn-cs"/>
        </a:defRPr>
      </a:lvl3pPr>
      <a:lvl4pPr marL="1203325" indent="-173038" algn="l" rtl="0" eaLnBrk="0" fontAlgn="base" hangingPunct="0">
        <a:spcBef>
          <a:spcPct val="20000"/>
        </a:spcBef>
        <a:spcAft>
          <a:spcPct val="0"/>
        </a:spcAft>
        <a:buClr>
          <a:schemeClr val="bg1"/>
        </a:buClr>
        <a:buChar char="–"/>
        <a:defRPr sz="1600">
          <a:solidFill>
            <a:schemeClr val="bg1"/>
          </a:solidFill>
          <a:latin typeface="+mn-lt"/>
          <a:ea typeface="맑은 고딕" panose="020B0503020000020004" pitchFamily="50" charset="-127"/>
          <a:cs typeface="+mn-cs"/>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ea typeface="맑은 고딕" panose="020B0503020000020004" pitchFamily="50" charset="-127"/>
          <a:cs typeface="+mn-cs"/>
        </a:defRPr>
      </a:lvl5pPr>
      <a:lvl6pPr marL="1997075" indent="-163513" algn="l" rtl="0" eaLnBrk="1" fontAlgn="base" hangingPunct="1">
        <a:spcBef>
          <a:spcPct val="20000"/>
        </a:spcBef>
        <a:spcAft>
          <a:spcPct val="0"/>
        </a:spcAft>
        <a:buClr>
          <a:schemeClr val="bg1"/>
        </a:buClr>
        <a:buChar char="»"/>
        <a:defRPr sz="1600">
          <a:solidFill>
            <a:schemeClr val="bg1"/>
          </a:solidFill>
          <a:latin typeface="+mn-lt"/>
          <a:ea typeface="+mn-ea"/>
          <a:cs typeface="+mn-cs"/>
        </a:defRPr>
      </a:lvl6pPr>
      <a:lvl7pPr marL="2454275" indent="-163513" algn="l" rtl="0" eaLnBrk="1" fontAlgn="base" hangingPunct="1">
        <a:spcBef>
          <a:spcPct val="20000"/>
        </a:spcBef>
        <a:spcAft>
          <a:spcPct val="0"/>
        </a:spcAft>
        <a:buClr>
          <a:schemeClr val="bg1"/>
        </a:buClr>
        <a:buChar char="»"/>
        <a:defRPr sz="1600">
          <a:solidFill>
            <a:schemeClr val="bg1"/>
          </a:solidFill>
          <a:latin typeface="+mn-lt"/>
          <a:ea typeface="+mn-ea"/>
          <a:cs typeface="+mn-cs"/>
        </a:defRPr>
      </a:lvl7pPr>
      <a:lvl8pPr marL="2911475" indent="-163513" algn="l" rtl="0" eaLnBrk="1" fontAlgn="base" hangingPunct="1">
        <a:spcBef>
          <a:spcPct val="20000"/>
        </a:spcBef>
        <a:spcAft>
          <a:spcPct val="0"/>
        </a:spcAft>
        <a:buClr>
          <a:schemeClr val="bg1"/>
        </a:buClr>
        <a:buChar char="»"/>
        <a:defRPr sz="1600">
          <a:solidFill>
            <a:schemeClr val="bg1"/>
          </a:solidFill>
          <a:latin typeface="+mn-lt"/>
          <a:ea typeface="+mn-ea"/>
          <a:cs typeface="+mn-cs"/>
        </a:defRPr>
      </a:lvl8pPr>
      <a:lvl9pPr marL="3368675" indent="-163513" algn="l" rtl="0" eaLnBrk="1" fontAlgn="base" hangingPunct="1">
        <a:spcBef>
          <a:spcPct val="20000"/>
        </a:spcBef>
        <a:spcAft>
          <a:spcPct val="0"/>
        </a:spcAft>
        <a:buClr>
          <a:schemeClr val="bg1"/>
        </a:buClr>
        <a:buChar char="»"/>
        <a:defRPr sz="1600">
          <a:solidFill>
            <a:schemeClr val="bg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extBox 3"/>
          <p:cNvSpPr txBox="1">
            <a:spLocks noChangeArrowheads="1"/>
          </p:cNvSpPr>
          <p:nvPr userDrawn="1"/>
        </p:nvSpPr>
        <p:spPr bwMode="auto">
          <a:xfrm>
            <a:off x="8958263" y="6470650"/>
            <a:ext cx="404812" cy="214313"/>
          </a:xfrm>
          <a:prstGeom prst="rect">
            <a:avLst/>
          </a:prstGeom>
          <a:noFill/>
          <a:ln>
            <a:noFill/>
          </a:ln>
        </p:spPr>
        <p:txBody>
          <a:bodyPr>
            <a:spAutoFit/>
          </a:bodyPr>
          <a:lstStyle>
            <a:lvl1pPr>
              <a:defRPr sz="1400" b="1">
                <a:solidFill>
                  <a:srgbClr val="000000"/>
                </a:solidFill>
                <a:latin typeface="Arial" pitchFamily="34" charset="0"/>
                <a:ea typeface="맑은 고딕" pitchFamily="50" charset="-127"/>
              </a:defRPr>
            </a:lvl1pPr>
            <a:lvl2pPr marL="742950" indent="-285750">
              <a:defRPr sz="1400" b="1">
                <a:solidFill>
                  <a:srgbClr val="000000"/>
                </a:solidFill>
                <a:latin typeface="Arial" pitchFamily="34" charset="0"/>
                <a:ea typeface="맑은 고딕" pitchFamily="50" charset="-127"/>
              </a:defRPr>
            </a:lvl2pPr>
            <a:lvl3pPr marL="1143000" indent="-228600">
              <a:defRPr sz="1400" b="1">
                <a:solidFill>
                  <a:srgbClr val="000000"/>
                </a:solidFill>
                <a:latin typeface="Arial" pitchFamily="34" charset="0"/>
                <a:ea typeface="맑은 고딕" pitchFamily="50" charset="-127"/>
              </a:defRPr>
            </a:lvl3pPr>
            <a:lvl4pPr marL="1600200" indent="-228600">
              <a:defRPr sz="1400" b="1">
                <a:solidFill>
                  <a:srgbClr val="000000"/>
                </a:solidFill>
                <a:latin typeface="Arial" pitchFamily="34" charset="0"/>
                <a:ea typeface="맑은 고딕" pitchFamily="50" charset="-127"/>
              </a:defRPr>
            </a:lvl4pPr>
            <a:lvl5pPr marL="2057400" indent="-228600">
              <a:defRPr sz="1400" b="1">
                <a:solidFill>
                  <a:srgbClr val="000000"/>
                </a:solidFill>
                <a:latin typeface="Arial" pitchFamily="34" charset="0"/>
                <a:ea typeface="맑은 고딕" pitchFamily="50" charset="-127"/>
              </a:defRPr>
            </a:lvl5pPr>
            <a:lvl6pPr marL="2514600" indent="-228600"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pPr algn="ctr" eaLnBrk="1" hangingPunct="1"/>
            <a:fld id="{DA4DDF86-7390-426D-B953-20977CD2D4C5}" type="slidenum">
              <a:rPr lang="ko-KR" altLang="en-US" sz="800" b="0">
                <a:ea typeface="MS PGothic" pitchFamily="34" charset="-128"/>
              </a:rPr>
              <a:pPr algn="ctr" eaLnBrk="1" hangingPunct="1"/>
              <a:t>‹#›</a:t>
            </a:fld>
            <a:endParaRPr lang="en-US" altLang="ko-KR" sz="800" b="0">
              <a:ea typeface="MS PGothic" pitchFamily="34" charset="-128"/>
            </a:endParaRPr>
          </a:p>
        </p:txBody>
      </p:sp>
      <p:sp>
        <p:nvSpPr>
          <p:cNvPr id="2051" name="Rectangle 6"/>
          <p:cNvSpPr>
            <a:spLocks noChangeArrowheads="1"/>
          </p:cNvSpPr>
          <p:nvPr userDrawn="1"/>
        </p:nvSpPr>
        <p:spPr bwMode="black">
          <a:xfrm>
            <a:off x="4222750" y="6470650"/>
            <a:ext cx="1371600" cy="184150"/>
          </a:xfrm>
          <a:prstGeom prst="rect">
            <a:avLst/>
          </a:prstGeom>
          <a:noFill/>
          <a:ln>
            <a:noFill/>
          </a:ln>
        </p:spPr>
        <p:txBody>
          <a:bodyPr lIns="92075" tIns="46038" rIns="92075" bIns="46038"/>
          <a:lstStyle>
            <a:lvl1pPr>
              <a:defRPr sz="1400" b="1">
                <a:solidFill>
                  <a:srgbClr val="000000"/>
                </a:solidFill>
                <a:latin typeface="Arial" charset="0"/>
                <a:ea typeface="맑은 고딕" pitchFamily="50" charset="-127"/>
              </a:defRPr>
            </a:lvl1pPr>
            <a:lvl2pPr marL="742950" indent="-285750">
              <a:defRPr sz="1400" b="1">
                <a:solidFill>
                  <a:srgbClr val="000000"/>
                </a:solidFill>
                <a:latin typeface="Arial" charset="0"/>
                <a:ea typeface="맑은 고딕" pitchFamily="50" charset="-127"/>
              </a:defRPr>
            </a:lvl2pPr>
            <a:lvl3pPr marL="1143000" indent="-228600">
              <a:defRPr sz="1400" b="1">
                <a:solidFill>
                  <a:srgbClr val="000000"/>
                </a:solidFill>
                <a:latin typeface="Arial" charset="0"/>
                <a:ea typeface="맑은 고딕" pitchFamily="50" charset="-127"/>
              </a:defRPr>
            </a:lvl3pPr>
            <a:lvl4pPr marL="1600200" indent="-228600">
              <a:defRPr sz="1400" b="1">
                <a:solidFill>
                  <a:srgbClr val="000000"/>
                </a:solidFill>
                <a:latin typeface="Arial" charset="0"/>
                <a:ea typeface="맑은 고딕" pitchFamily="50" charset="-127"/>
              </a:defRPr>
            </a:lvl4pPr>
            <a:lvl5pPr marL="2057400" indent="-228600">
              <a:defRPr sz="1400" b="1">
                <a:solidFill>
                  <a:srgbClr val="000000"/>
                </a:solidFill>
                <a:latin typeface="Arial" charset="0"/>
                <a:ea typeface="맑은 고딕" pitchFamily="50" charset="-127"/>
              </a:defRPr>
            </a:lvl5pPr>
            <a:lvl6pPr marL="2514600" indent="-228600" eaLnBrk="0" fontAlgn="base" hangingPunct="0">
              <a:spcBef>
                <a:spcPct val="0"/>
              </a:spcBef>
              <a:spcAft>
                <a:spcPct val="0"/>
              </a:spcAft>
              <a:defRPr sz="1400" b="1">
                <a:solidFill>
                  <a:srgbClr val="000000"/>
                </a:solidFill>
                <a:latin typeface="Arial" charset="0"/>
                <a:ea typeface="맑은 고딕" pitchFamily="50" charset="-127"/>
              </a:defRPr>
            </a:lvl6pPr>
            <a:lvl7pPr marL="2971800" indent="-228600" eaLnBrk="0" fontAlgn="base" hangingPunct="0">
              <a:spcBef>
                <a:spcPct val="0"/>
              </a:spcBef>
              <a:spcAft>
                <a:spcPct val="0"/>
              </a:spcAft>
              <a:defRPr sz="1400" b="1">
                <a:solidFill>
                  <a:srgbClr val="000000"/>
                </a:solidFill>
                <a:latin typeface="Arial" charset="0"/>
                <a:ea typeface="맑은 고딕" pitchFamily="50" charset="-127"/>
              </a:defRPr>
            </a:lvl7pPr>
            <a:lvl8pPr marL="3429000" indent="-228600" eaLnBrk="0" fontAlgn="base" hangingPunct="0">
              <a:spcBef>
                <a:spcPct val="0"/>
              </a:spcBef>
              <a:spcAft>
                <a:spcPct val="0"/>
              </a:spcAft>
              <a:defRPr sz="1400" b="1">
                <a:solidFill>
                  <a:srgbClr val="000000"/>
                </a:solidFill>
                <a:latin typeface="Arial" charset="0"/>
                <a:ea typeface="맑은 고딕" pitchFamily="50" charset="-127"/>
              </a:defRPr>
            </a:lvl8pPr>
            <a:lvl9pPr marL="3886200" indent="-228600" eaLnBrk="0" fontAlgn="base" hangingPunct="0">
              <a:spcBef>
                <a:spcPct val="0"/>
              </a:spcBef>
              <a:spcAft>
                <a:spcPct val="0"/>
              </a:spcAft>
              <a:defRPr sz="1400" b="1">
                <a:solidFill>
                  <a:srgbClr val="000000"/>
                </a:solidFill>
                <a:latin typeface="Arial" charset="0"/>
                <a:ea typeface="맑은 고딕" pitchFamily="50" charset="-127"/>
              </a:defRPr>
            </a:lvl9pPr>
          </a:lstStyle>
          <a:p>
            <a:pPr algn="r" eaLnBrk="1" hangingPunct="1">
              <a:defRPr/>
            </a:pPr>
            <a:r>
              <a:rPr lang="en-US" altLang="ko-KR" sz="800" b="0" dirty="0">
                <a:ea typeface="MS PGothic" pitchFamily="34" charset="-128"/>
              </a:rPr>
              <a:t>© 2011 IBM Corporation</a:t>
            </a:r>
          </a:p>
        </p:txBody>
      </p:sp>
      <p:pic>
        <p:nvPicPr>
          <p:cNvPr id="2052" name="Picture 12" descr="Band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9906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33" descr="5300_IBMpos_black"/>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20725" y="6470650"/>
            <a:ext cx="608013"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276" r:id="rId1"/>
    <p:sldLayoutId id="2147484277" r:id="rId2"/>
    <p:sldLayoutId id="2147484273" r:id="rId3"/>
  </p:sldLayoutIdLst>
  <p:hf hdr="0" ftr="0" dt="0"/>
  <p:txStyles>
    <p:titleStyle>
      <a:lvl1pPr algn="l" rtl="0" eaLnBrk="0" fontAlgn="base" latinLnBrk="1" hangingPunct="0">
        <a:lnSpc>
          <a:spcPct val="90000"/>
        </a:lnSpc>
        <a:spcBef>
          <a:spcPct val="0"/>
        </a:spcBef>
        <a:spcAft>
          <a:spcPct val="0"/>
        </a:spcAft>
        <a:defRPr kumimoji="1" sz="4400" b="1">
          <a:solidFill>
            <a:schemeClr val="tx1"/>
          </a:solidFill>
          <a:latin typeface="맑은 고딕" pitchFamily="50" charset="-127"/>
          <a:ea typeface="맑은 고딕" pitchFamily="50" charset="-127"/>
          <a:cs typeface="+mj-cs"/>
        </a:defRPr>
      </a:lvl1pPr>
      <a:lvl2pPr algn="l" rtl="0" eaLnBrk="0" fontAlgn="base" latinLnBrk="1" hangingPunct="0">
        <a:lnSpc>
          <a:spcPct val="90000"/>
        </a:lnSpc>
        <a:spcBef>
          <a:spcPct val="0"/>
        </a:spcBef>
        <a:spcAft>
          <a:spcPct val="0"/>
        </a:spcAft>
        <a:defRPr kumimoji="1" sz="4400" b="1">
          <a:solidFill>
            <a:schemeClr val="tx1"/>
          </a:solidFill>
          <a:latin typeface="맑은 고딕" pitchFamily="50" charset="-127"/>
          <a:ea typeface="맑은 고딕" pitchFamily="50" charset="-127"/>
        </a:defRPr>
      </a:lvl2pPr>
      <a:lvl3pPr algn="l" rtl="0" eaLnBrk="0" fontAlgn="base" latinLnBrk="1" hangingPunct="0">
        <a:lnSpc>
          <a:spcPct val="90000"/>
        </a:lnSpc>
        <a:spcBef>
          <a:spcPct val="0"/>
        </a:spcBef>
        <a:spcAft>
          <a:spcPct val="0"/>
        </a:spcAft>
        <a:defRPr kumimoji="1" sz="4400" b="1">
          <a:solidFill>
            <a:schemeClr val="tx1"/>
          </a:solidFill>
          <a:latin typeface="맑은 고딕" pitchFamily="50" charset="-127"/>
          <a:ea typeface="맑은 고딕" pitchFamily="50" charset="-127"/>
        </a:defRPr>
      </a:lvl3pPr>
      <a:lvl4pPr algn="l" rtl="0" eaLnBrk="0" fontAlgn="base" latinLnBrk="1" hangingPunct="0">
        <a:lnSpc>
          <a:spcPct val="90000"/>
        </a:lnSpc>
        <a:spcBef>
          <a:spcPct val="0"/>
        </a:spcBef>
        <a:spcAft>
          <a:spcPct val="0"/>
        </a:spcAft>
        <a:defRPr kumimoji="1" sz="4400" b="1">
          <a:solidFill>
            <a:schemeClr val="tx1"/>
          </a:solidFill>
          <a:latin typeface="맑은 고딕" pitchFamily="50" charset="-127"/>
          <a:ea typeface="맑은 고딕" pitchFamily="50" charset="-127"/>
        </a:defRPr>
      </a:lvl4pPr>
      <a:lvl5pPr algn="l" rtl="0" eaLnBrk="0" fontAlgn="base" latinLnBrk="1" hangingPunct="0">
        <a:lnSpc>
          <a:spcPct val="90000"/>
        </a:lnSpc>
        <a:spcBef>
          <a:spcPct val="0"/>
        </a:spcBef>
        <a:spcAft>
          <a:spcPct val="0"/>
        </a:spcAft>
        <a:defRPr kumimoji="1" sz="4400" b="1">
          <a:solidFill>
            <a:schemeClr val="tx1"/>
          </a:solidFill>
          <a:latin typeface="맑은 고딕" pitchFamily="50" charset="-127"/>
          <a:ea typeface="맑은 고딕" pitchFamily="50" charset="-127"/>
        </a:defRPr>
      </a:lvl5pPr>
      <a:lvl6pPr marL="457200" algn="l" rtl="0" fontAlgn="base" latinLnBrk="1">
        <a:lnSpc>
          <a:spcPct val="90000"/>
        </a:lnSpc>
        <a:spcBef>
          <a:spcPct val="0"/>
        </a:spcBef>
        <a:spcAft>
          <a:spcPct val="0"/>
        </a:spcAft>
        <a:defRPr kumimoji="1" b="1">
          <a:solidFill>
            <a:schemeClr val="tx1"/>
          </a:solidFill>
          <a:latin typeface="맑은 고딕" pitchFamily="50" charset="-127"/>
          <a:ea typeface="맑은 고딕" pitchFamily="50" charset="-127"/>
        </a:defRPr>
      </a:lvl6pPr>
      <a:lvl7pPr marL="914400" algn="l" rtl="0" fontAlgn="base" latinLnBrk="1">
        <a:lnSpc>
          <a:spcPct val="90000"/>
        </a:lnSpc>
        <a:spcBef>
          <a:spcPct val="0"/>
        </a:spcBef>
        <a:spcAft>
          <a:spcPct val="0"/>
        </a:spcAft>
        <a:defRPr kumimoji="1" b="1">
          <a:solidFill>
            <a:schemeClr val="tx1"/>
          </a:solidFill>
          <a:latin typeface="맑은 고딕" pitchFamily="50" charset="-127"/>
          <a:ea typeface="맑은 고딕" pitchFamily="50" charset="-127"/>
        </a:defRPr>
      </a:lvl7pPr>
      <a:lvl8pPr marL="1371600" algn="l" rtl="0" fontAlgn="base" latinLnBrk="1">
        <a:lnSpc>
          <a:spcPct val="90000"/>
        </a:lnSpc>
        <a:spcBef>
          <a:spcPct val="0"/>
        </a:spcBef>
        <a:spcAft>
          <a:spcPct val="0"/>
        </a:spcAft>
        <a:defRPr kumimoji="1" b="1">
          <a:solidFill>
            <a:schemeClr val="tx1"/>
          </a:solidFill>
          <a:latin typeface="맑은 고딕" pitchFamily="50" charset="-127"/>
          <a:ea typeface="맑은 고딕" pitchFamily="50" charset="-127"/>
        </a:defRPr>
      </a:lvl8pPr>
      <a:lvl9pPr marL="1828800" algn="l" rtl="0" fontAlgn="base" latinLnBrk="1">
        <a:lnSpc>
          <a:spcPct val="90000"/>
        </a:lnSpc>
        <a:spcBef>
          <a:spcPct val="0"/>
        </a:spcBef>
        <a:spcAft>
          <a:spcPct val="0"/>
        </a:spcAft>
        <a:defRPr kumimoji="1" b="1">
          <a:solidFill>
            <a:schemeClr val="tx1"/>
          </a:solidFill>
          <a:latin typeface="맑은 고딕" pitchFamily="50" charset="-127"/>
          <a:ea typeface="맑은 고딕" pitchFamily="50" charset="-127"/>
        </a:defRPr>
      </a:lvl9pPr>
    </p:titleStyle>
    <p:bodyStyle>
      <a:lvl1pPr marL="342900" indent="-342900" algn="l" rtl="0" eaLnBrk="0" fontAlgn="base" hangingPunct="0">
        <a:spcBef>
          <a:spcPct val="0"/>
        </a:spcBef>
        <a:spcAft>
          <a:spcPct val="0"/>
        </a:spcAft>
        <a:buClr>
          <a:schemeClr val="accent1"/>
        </a:buClr>
        <a:buSzPct val="50000"/>
        <a:buFont typeface="Monotype Sorts"/>
        <a:defRPr kumimoji="1" sz="1400" b="1">
          <a:solidFill>
            <a:schemeClr val="tx1"/>
          </a:solidFill>
          <a:latin typeface="맑은 고딕" pitchFamily="50" charset="-127"/>
          <a:ea typeface="맑은 고딕" pitchFamily="50" charset="-127"/>
          <a:cs typeface="+mn-cs"/>
        </a:defRPr>
      </a:lvl1pPr>
      <a:lvl2pPr marL="639763" indent="-185738" algn="l" rtl="0" eaLnBrk="0" fontAlgn="base" latinLnBrk="1" hangingPunct="0">
        <a:spcBef>
          <a:spcPct val="25000"/>
        </a:spcBef>
        <a:spcAft>
          <a:spcPct val="15000"/>
        </a:spcAft>
        <a:buClr>
          <a:schemeClr val="accent2"/>
        </a:buClr>
        <a:buFont typeface="Arial Narrow" pitchFamily="34" charset="0"/>
        <a:buChar char="–"/>
        <a:defRPr kumimoji="1" sz="2800">
          <a:solidFill>
            <a:schemeClr val="tx1"/>
          </a:solidFill>
          <a:latin typeface="가는각진제목체" pitchFamily="18" charset="-127"/>
          <a:ea typeface="가는각진제목체" pitchFamily="18" charset="-127"/>
          <a:cs typeface="가는각진제목체"/>
        </a:defRPr>
      </a:lvl2pPr>
      <a:lvl3pPr marL="1016000" indent="-196850" algn="l" rtl="0" eaLnBrk="0" fontAlgn="base" latinLnBrk="1" hangingPunct="0">
        <a:spcBef>
          <a:spcPct val="20000"/>
        </a:spcBef>
        <a:spcAft>
          <a:spcPct val="0"/>
        </a:spcAft>
        <a:buClr>
          <a:schemeClr val="accent2"/>
        </a:buClr>
        <a:buChar char="•"/>
        <a:defRPr kumimoji="1" sz="2400">
          <a:solidFill>
            <a:schemeClr val="tx1"/>
          </a:solidFill>
          <a:latin typeface="가는각진제목체" pitchFamily="18" charset="-127"/>
          <a:ea typeface="가는각진제목체" pitchFamily="18" charset="-127"/>
          <a:cs typeface="가는각진제목체"/>
        </a:defRPr>
      </a:lvl3pPr>
      <a:lvl4pPr marL="1365250" indent="-169863" algn="l" rtl="0" eaLnBrk="0" fontAlgn="base" latinLnBrk="1" hangingPunct="0">
        <a:spcBef>
          <a:spcPct val="20000"/>
        </a:spcBef>
        <a:spcAft>
          <a:spcPct val="0"/>
        </a:spcAft>
        <a:buClr>
          <a:schemeClr val="accent2"/>
        </a:buClr>
        <a:buFont typeface="Arial Narrow" pitchFamily="34" charset="0"/>
        <a:buChar char="–"/>
        <a:defRPr kumimoji="1" sz="2000">
          <a:solidFill>
            <a:schemeClr val="tx1"/>
          </a:solidFill>
          <a:latin typeface="가는각진제목체" pitchFamily="18" charset="-127"/>
          <a:ea typeface="가는각진제목체" pitchFamily="18" charset="-127"/>
          <a:cs typeface="가는각진제목체"/>
        </a:defRPr>
      </a:lvl4pPr>
      <a:lvl5pPr marL="1714500" indent="-169863" algn="l" rtl="0" eaLnBrk="0" fontAlgn="base" latinLnBrk="1" hangingPunct="0">
        <a:spcBef>
          <a:spcPct val="20000"/>
        </a:spcBef>
        <a:spcAft>
          <a:spcPct val="0"/>
        </a:spcAft>
        <a:buClr>
          <a:schemeClr val="accent2"/>
        </a:buClr>
        <a:buFont typeface="Arial Narrow" pitchFamily="34" charset="0"/>
        <a:buChar char="&gt;"/>
        <a:defRPr kumimoji="1" sz="2000">
          <a:solidFill>
            <a:schemeClr val="tx1"/>
          </a:solidFill>
          <a:latin typeface="가는각진제목체" pitchFamily="18" charset="-127"/>
          <a:ea typeface="가는각진제목체" pitchFamily="18" charset="-127"/>
          <a:cs typeface="가는각진제목체"/>
        </a:defRPr>
      </a:lvl5pPr>
      <a:lvl6pPr marL="2170113" indent="-169863" algn="l" rtl="0" fontAlgn="base" latinLnBrk="1">
        <a:spcBef>
          <a:spcPct val="20000"/>
        </a:spcBef>
        <a:spcAft>
          <a:spcPct val="0"/>
        </a:spcAft>
        <a:buClr>
          <a:schemeClr val="accent2"/>
        </a:buClr>
        <a:buFont typeface="Arial Narrow" pitchFamily="34" charset="0"/>
        <a:buChar char="&gt;"/>
        <a:defRPr kumimoji="1">
          <a:solidFill>
            <a:schemeClr val="tx1"/>
          </a:solidFill>
          <a:latin typeface="가는각진제목체" pitchFamily="18" charset="-127"/>
          <a:ea typeface="가는각진제목체" pitchFamily="18" charset="-127"/>
        </a:defRPr>
      </a:lvl6pPr>
      <a:lvl7pPr marL="2627313" indent="-169863" algn="l" rtl="0" fontAlgn="base" latinLnBrk="1">
        <a:spcBef>
          <a:spcPct val="20000"/>
        </a:spcBef>
        <a:spcAft>
          <a:spcPct val="0"/>
        </a:spcAft>
        <a:buClr>
          <a:schemeClr val="accent2"/>
        </a:buClr>
        <a:buFont typeface="Arial Narrow" pitchFamily="34" charset="0"/>
        <a:buChar char="&gt;"/>
        <a:defRPr kumimoji="1">
          <a:solidFill>
            <a:schemeClr val="tx1"/>
          </a:solidFill>
          <a:latin typeface="가는각진제목체" pitchFamily="18" charset="-127"/>
          <a:ea typeface="가는각진제목체" pitchFamily="18" charset="-127"/>
        </a:defRPr>
      </a:lvl7pPr>
      <a:lvl8pPr marL="3084513" indent="-169863" algn="l" rtl="0" fontAlgn="base" latinLnBrk="1">
        <a:spcBef>
          <a:spcPct val="20000"/>
        </a:spcBef>
        <a:spcAft>
          <a:spcPct val="0"/>
        </a:spcAft>
        <a:buClr>
          <a:schemeClr val="accent2"/>
        </a:buClr>
        <a:buFont typeface="Arial Narrow" pitchFamily="34" charset="0"/>
        <a:buChar char="&gt;"/>
        <a:defRPr kumimoji="1">
          <a:solidFill>
            <a:schemeClr val="tx1"/>
          </a:solidFill>
          <a:latin typeface="가는각진제목체" pitchFamily="18" charset="-127"/>
          <a:ea typeface="가는각진제목체" pitchFamily="18" charset="-127"/>
        </a:defRPr>
      </a:lvl8pPr>
      <a:lvl9pPr marL="3541713" indent="-169863" algn="l" rtl="0" fontAlgn="base" latinLnBrk="1">
        <a:spcBef>
          <a:spcPct val="20000"/>
        </a:spcBef>
        <a:spcAft>
          <a:spcPct val="0"/>
        </a:spcAft>
        <a:buClr>
          <a:schemeClr val="accent2"/>
        </a:buClr>
        <a:buFont typeface="Arial Narrow" pitchFamily="34" charset="0"/>
        <a:buChar char="&gt;"/>
        <a:defRPr kumimoji="1">
          <a:solidFill>
            <a:schemeClr val="tx1"/>
          </a:solidFill>
          <a:latin typeface="가는각진제목체" pitchFamily="18" charset="-127"/>
          <a:ea typeface="가는각진제목체" pitchFamily="18" charset="-127"/>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9563" y="571500"/>
            <a:ext cx="4457700" cy="9525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309563" y="1714500"/>
            <a:ext cx="4457700" cy="4381500"/>
          </a:xfrm>
          <a:prstGeom prst="rect">
            <a:avLst/>
          </a:prstGeom>
        </p:spPr>
        <p:txBody>
          <a:bodyPr vert="horz" lIns="0" tIns="167632" rIns="0" bIns="0" rtlCol="0" anchor="t">
            <a:noAutofit/>
          </a:bodyPr>
          <a:lstStyle/>
          <a:p>
            <a:pPr lvl="0"/>
            <a:r>
              <a:rPr lang="en-US" dirty="0"/>
              <a:t>Click to edit Master text styles</a:t>
            </a:r>
          </a:p>
          <a:p>
            <a:pPr lvl="1"/>
            <a:r>
              <a:rPr lang="en-US" dirty="0"/>
              <a:t>Second level</a:t>
            </a:r>
          </a:p>
          <a:p>
            <a:pPr lvl="2"/>
            <a:r>
              <a:rPr lang="en-US" dirty="0"/>
              <a:t>Third level</a:t>
            </a:r>
          </a:p>
          <a:p>
            <a:pPr lvl="2"/>
            <a:r>
              <a:rPr lang="en-US" dirty="0"/>
              <a:t>Third level</a:t>
            </a:r>
          </a:p>
          <a:p>
            <a:pPr lvl="3"/>
            <a:r>
              <a:rPr lang="en-US" dirty="0"/>
              <a:t>Fourth level</a:t>
            </a:r>
          </a:p>
          <a:p>
            <a:pPr lvl="4"/>
            <a:r>
              <a:rPr lang="en-US" dirty="0"/>
              <a:t>Fifth level</a:t>
            </a:r>
          </a:p>
        </p:txBody>
      </p:sp>
      <p:pic>
        <p:nvPicPr>
          <p:cNvPr id="15" name="Picture 14"/>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9212946" y="6515119"/>
            <a:ext cx="383309" cy="190500"/>
          </a:xfrm>
          <a:prstGeom prst="rect">
            <a:avLst/>
          </a:prstGeom>
        </p:spPr>
      </p:pic>
      <p:grpSp>
        <p:nvGrpSpPr>
          <p:cNvPr id="9" name="Group 8"/>
          <p:cNvGrpSpPr/>
          <p:nvPr userDrawn="1"/>
        </p:nvGrpSpPr>
        <p:grpSpPr>
          <a:xfrm>
            <a:off x="619125" y="6583046"/>
            <a:ext cx="1837164" cy="183809"/>
            <a:chOff x="914400" y="7899655"/>
            <a:chExt cx="2713350" cy="220571"/>
          </a:xfrm>
        </p:grpSpPr>
        <p:sp>
          <p:nvSpPr>
            <p:cNvPr id="1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000000">
                      <a:alpha val="60000"/>
                    </a:srgbClr>
                  </a:solidFill>
                  <a:latin typeface="IBM Plex Sans" charset="0"/>
                  <a:ea typeface="IBM Plex Sans" charset="0"/>
                  <a:cs typeface="IBM Plex Sans" charset="0"/>
                </a:rPr>
                <a:t>©</a:t>
              </a:r>
              <a:r>
                <a:rPr lang="en-US" sz="300" b="0" dirty="0">
                  <a:solidFill>
                    <a:srgbClr val="000000">
                      <a:alpha val="60000"/>
                    </a:srgbClr>
                  </a:solidFill>
                  <a:latin typeface="IBM Plex Sans" charset="0"/>
                  <a:ea typeface="IBM Plex Sans" charset="0"/>
                  <a:cs typeface="IBM Plex Sans" charset="0"/>
                </a:rPr>
                <a:t> </a:t>
              </a:r>
              <a:r>
                <a:rPr lang="en-US" sz="600" b="0" dirty="0">
                  <a:solidFill>
                    <a:srgbClr val="000000">
                      <a:alpha val="60000"/>
                    </a:srgbClr>
                  </a:solidFill>
                  <a:latin typeface="IBM Plex Sans" charset="0"/>
                  <a:ea typeface="IBM Plex Sans" charset="0"/>
                  <a:cs typeface="IBM Plex Sans" charset="0"/>
                </a:rPr>
                <a:t>2018 IBM Corporation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000000">
                      <a:alpha val="60000"/>
                    </a:srgbClr>
                  </a:solidFill>
                  <a:latin typeface="IBM Plex Sans" charset="0"/>
                  <a:ea typeface="IBM Plex Sans" charset="0"/>
                  <a:cs typeface="IBM Plex Sans" charset="0"/>
                </a:rPr>
                <a:t> </a:t>
              </a:r>
              <a:fld id="{7C9968D1-C8E5-4FE3-AED4-7D4518C301B3}" type="datetime3">
                <a:rPr lang="en-US" sz="600" b="0" smtClean="0">
                  <a:solidFill>
                    <a:srgbClr val="000000">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000000">
                    <a:alpha val="60000"/>
                  </a:srgbClr>
                </a:solidFill>
                <a:latin typeface="IBM Plex Sans" charset="0"/>
                <a:ea typeface="IBM Plex Sans" charset="0"/>
                <a:cs typeface="IBM Plex Sans" charset="0"/>
              </a:endParaRPr>
            </a:p>
          </p:txBody>
        </p:sp>
      </p:grpSp>
      <p:sp>
        <p:nvSpPr>
          <p:cNvPr id="16" name="Footer Placeholder 3"/>
          <p:cNvSpPr txBox="1">
            <a:spLocks/>
          </p:cNvSpPr>
          <p:nvPr userDrawn="1"/>
        </p:nvSpPr>
        <p:spPr>
          <a:xfrm>
            <a:off x="2631281" y="6583680"/>
            <a:ext cx="154674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000000">
                    <a:alpha val="60000"/>
                  </a:srgbClr>
                </a:solidFill>
                <a:latin typeface="IBM Plex Sans" charset="0"/>
                <a:ea typeface="IBM Plex Sans" charset="0"/>
                <a:cs typeface="IBM Plex Sans" charset="0"/>
              </a:rPr>
              <a:t>IBM Institute for Business Value</a:t>
            </a:r>
          </a:p>
        </p:txBody>
      </p:sp>
      <p:sp>
        <p:nvSpPr>
          <p:cNvPr id="17"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000000"/>
                </a:solidFill>
                <a:latin typeface="IBM Plex Sans" charset="0"/>
                <a:ea typeface="IBM Plex Sans" charset="0"/>
                <a:cs typeface="IBM Plex Sans" charset="0"/>
              </a:rPr>
              <a:pPr fontAlgn="auto">
                <a:spcBef>
                  <a:spcPts val="0"/>
                </a:spcBef>
                <a:spcAft>
                  <a:spcPts val="0"/>
                </a:spcAft>
              </a:pPr>
              <a:t>‹#›</a:t>
            </a:fld>
            <a:endParaRPr lang="en-US" sz="600" b="0" dirty="0">
              <a:solidFill>
                <a:srgbClr val="000000"/>
              </a:solidFill>
              <a:latin typeface="IBM Plex Sans" charset="0"/>
              <a:ea typeface="IBM Plex Sans" charset="0"/>
              <a:cs typeface="IBM Plex Sans" charset="0"/>
            </a:endParaRPr>
          </a:p>
        </p:txBody>
      </p:sp>
      <p:grpSp>
        <p:nvGrpSpPr>
          <p:cNvPr id="52" name="Group 51"/>
          <p:cNvGrpSpPr/>
          <p:nvPr userDrawn="1"/>
        </p:nvGrpSpPr>
        <p:grpSpPr>
          <a:xfrm>
            <a:off x="-167165" y="-190499"/>
            <a:ext cx="10227947" cy="7209772"/>
            <a:chOff x="-109730" y="-110489"/>
            <a:chExt cx="9352896" cy="5351811"/>
          </a:xfrm>
        </p:grpSpPr>
        <p:grpSp>
          <p:nvGrpSpPr>
            <p:cNvPr id="53" name="Group 52"/>
            <p:cNvGrpSpPr/>
            <p:nvPr userDrawn="1"/>
          </p:nvGrpSpPr>
          <p:grpSpPr>
            <a:xfrm>
              <a:off x="326211" y="-110489"/>
              <a:ext cx="8492338" cy="119718"/>
              <a:chOff x="326211" y="-152399"/>
              <a:chExt cx="8492338" cy="199534"/>
            </a:xfrm>
          </p:grpSpPr>
          <p:cxnSp>
            <p:nvCxnSpPr>
              <p:cNvPr id="78" name="Straight Connector 77"/>
              <p:cNvCxnSpPr/>
              <p:nvPr userDrawn="1"/>
            </p:nvCxnSpPr>
            <p:spPr bwMode="auto">
              <a:xfrm rot="5400000" flipH="1">
                <a:off x="250011" y="-2906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rot="5400000" flipH="1">
                <a:off x="2090018"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rot="5400000" flipH="1">
                <a:off x="2231557"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rot="5400000" flipH="1">
                <a:off x="2373096"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2" name="Straight Connector 81"/>
              <p:cNvCxnSpPr/>
              <p:nvPr userDrawn="1"/>
            </p:nvCxnSpPr>
            <p:spPr bwMode="auto">
              <a:xfrm rot="5400000" flipH="1">
                <a:off x="4354641"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4496180"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4637719"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6619265"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6760804"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p:cNvCxnSpPr/>
              <p:nvPr userDrawn="1"/>
            </p:nvCxnSpPr>
            <p:spPr bwMode="auto">
              <a:xfrm rot="5400000" flipH="1">
                <a:off x="6902342"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p:cNvCxnSpPr/>
              <p:nvPr userDrawn="1"/>
            </p:nvCxnSpPr>
            <p:spPr bwMode="auto">
              <a:xfrm rot="5400000" flipH="1">
                <a:off x="8742349" y="-29065"/>
                <a:ext cx="152399"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4" name="Group 53"/>
            <p:cNvGrpSpPr/>
            <p:nvPr userDrawn="1"/>
          </p:nvGrpSpPr>
          <p:grpSpPr>
            <a:xfrm>
              <a:off x="326211" y="5143289"/>
              <a:ext cx="8492338" cy="98033"/>
              <a:chOff x="326211" y="5111418"/>
              <a:chExt cx="8492338" cy="163389"/>
            </a:xfrm>
          </p:grpSpPr>
          <p:cxnSp>
            <p:nvCxnSpPr>
              <p:cNvPr id="67" name="Straight Connector 66"/>
              <p:cNvCxnSpPr/>
              <p:nvPr userDrawn="1"/>
            </p:nvCxnSpPr>
            <p:spPr bwMode="auto">
              <a:xfrm rot="5400000" flipH="1">
                <a:off x="250011" y="5187632"/>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rot="5400000" flipH="1">
                <a:off x="2090017"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rot="5400000" flipH="1">
                <a:off x="2231556"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rot="5400000" flipH="1">
                <a:off x="2373095"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rot="5400000" flipH="1">
                <a:off x="4354641"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rot="5400000" flipH="1">
                <a:off x="4496180"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3" name="Straight Connector 72"/>
              <p:cNvCxnSpPr/>
              <p:nvPr userDrawn="1"/>
            </p:nvCxnSpPr>
            <p:spPr bwMode="auto">
              <a:xfrm rot="5400000" flipH="1">
                <a:off x="4637719"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rot="5400000" flipH="1">
                <a:off x="6619264"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rot="5400000" flipH="1">
                <a:off x="6760803"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rot="5400000" flipH="1">
                <a:off x="6902342"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rot="5400000" flipH="1">
                <a:off x="8742348" y="5187619"/>
                <a:ext cx="152402"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5" name="Group 54"/>
            <p:cNvGrpSpPr/>
            <p:nvPr userDrawn="1"/>
          </p:nvGrpSpPr>
          <p:grpSpPr>
            <a:xfrm>
              <a:off x="-109730" y="313734"/>
              <a:ext cx="124556" cy="4525058"/>
              <a:chOff x="-109730" y="313734"/>
              <a:chExt cx="124556" cy="4525058"/>
            </a:xfrm>
          </p:grpSpPr>
          <p:cxnSp>
            <p:nvCxnSpPr>
              <p:cNvPr id="62" name="Straight Connector 61"/>
              <p:cNvCxnSpPr/>
              <p:nvPr userDrawn="1"/>
            </p:nvCxnSpPr>
            <p:spPr bwMode="auto">
              <a:xfrm flipH="1">
                <a:off x="-109730" y="1303590"/>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3" name="Straight Connector 62"/>
              <p:cNvCxnSpPr/>
              <p:nvPr userDrawn="1"/>
            </p:nvCxnSpPr>
            <p:spPr bwMode="auto">
              <a:xfrm flipH="1">
                <a:off x="-109730" y="2576262"/>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4" name="Straight Connector 63"/>
              <p:cNvCxnSpPr/>
              <p:nvPr userDrawn="1"/>
            </p:nvCxnSpPr>
            <p:spPr bwMode="auto">
              <a:xfrm flipH="1">
                <a:off x="-109730" y="384962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flipH="1">
                <a:off x="-98406" y="31373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flipH="1">
                <a:off x="-76614" y="4838792"/>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6" name="Group 55"/>
            <p:cNvGrpSpPr/>
            <p:nvPr userDrawn="1"/>
          </p:nvGrpSpPr>
          <p:grpSpPr>
            <a:xfrm>
              <a:off x="9123418" y="313734"/>
              <a:ext cx="119748" cy="4525057"/>
              <a:chOff x="-149362" y="307384"/>
              <a:chExt cx="119748" cy="4525057"/>
            </a:xfrm>
          </p:grpSpPr>
          <p:cxnSp>
            <p:nvCxnSpPr>
              <p:cNvPr id="57" name="Straight Connector 56"/>
              <p:cNvCxnSpPr/>
              <p:nvPr userDrawn="1"/>
            </p:nvCxnSpPr>
            <p:spPr bwMode="auto">
              <a:xfrm flipH="1">
                <a:off x="-142845" y="1297240"/>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8" name="Straight Connector 57"/>
              <p:cNvCxnSpPr/>
              <p:nvPr userDrawn="1"/>
            </p:nvCxnSpPr>
            <p:spPr bwMode="auto">
              <a:xfrm flipH="1">
                <a:off x="-142845" y="2569913"/>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9" name="Straight Connector 58"/>
              <p:cNvCxnSpPr/>
              <p:nvPr userDrawn="1"/>
            </p:nvCxnSpPr>
            <p:spPr bwMode="auto">
              <a:xfrm flipH="1">
                <a:off x="-142845" y="384327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0" name="Straight Connector 59"/>
              <p:cNvCxnSpPr/>
              <p:nvPr userDrawn="1"/>
            </p:nvCxnSpPr>
            <p:spPr bwMode="auto">
              <a:xfrm flipH="1">
                <a:off x="-149362" y="30738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1" name="Straight Connector 60"/>
              <p:cNvCxnSpPr/>
              <p:nvPr userDrawn="1"/>
            </p:nvCxnSpPr>
            <p:spPr bwMode="auto">
              <a:xfrm flipH="1">
                <a:off x="-121054" y="4832441"/>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85504638"/>
      </p:ext>
    </p:extLst>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 id="2147484289" r:id="rId11"/>
    <p:sldLayoutId id="2147484290" r:id="rId12"/>
    <p:sldLayoutId id="2147484291" r:id="rId13"/>
    <p:sldLayoutId id="2147484292" r:id="rId14"/>
    <p:sldLayoutId id="2147484293" r:id="rId15"/>
    <p:sldLayoutId id="2147484294" r:id="rId16"/>
    <p:sldLayoutId id="2147484295" r:id="rId17"/>
    <p:sldLayoutId id="2147484296" r:id="rId18"/>
    <p:sldLayoutId id="2147484297" r:id="rId19"/>
    <p:sldLayoutId id="2147484298" r:id="rId20"/>
    <p:sldLayoutId id="2147484299" r:id="rId21"/>
    <p:sldLayoutId id="2147484300" r:id="rId22"/>
    <p:sldLayoutId id="2147484301" r:id="rId23"/>
    <p:sldLayoutId id="2147484302" r:id="rId24"/>
    <p:sldLayoutId id="2147484303" r:id="rId25"/>
    <p:sldLayoutId id="2147484304" r:id="rId26"/>
  </p:sldLayoutIdLst>
  <p:txStyles>
    <p:titleStyle>
      <a:lvl1pPr algn="l" defTabSz="804635" rtl="0" eaLnBrk="1" latinLnBrk="0" hangingPunct="1">
        <a:lnSpc>
          <a:spcPct val="90000"/>
        </a:lnSpc>
        <a:spcBef>
          <a:spcPct val="0"/>
        </a:spcBef>
        <a:buNone/>
        <a:defRPr sz="2600" b="0" i="0" kern="1200">
          <a:solidFill>
            <a:schemeClr val="tx1"/>
          </a:solidFill>
          <a:latin typeface="IBM Plex Sans" charset="0"/>
          <a:ea typeface="IBM Plex Sans" charset="0"/>
          <a:cs typeface="IBM Plex Sans" charset="0"/>
        </a:defRPr>
      </a:lvl1pPr>
    </p:titleStyle>
    <p:bodyStyle>
      <a:lvl1pPr marL="0" indent="0" algn="l" defTabSz="804635" rtl="0" eaLnBrk="1" latinLnBrk="0" hangingPunct="1">
        <a:lnSpc>
          <a:spcPct val="105000"/>
        </a:lnSpc>
        <a:spcBef>
          <a:spcPts val="880"/>
        </a:spcBef>
        <a:buFontTx/>
        <a:buNone/>
        <a:tabLst/>
        <a:defRPr sz="1500" b="0" i="0" kern="1200">
          <a:solidFill>
            <a:schemeClr val="tx1"/>
          </a:solidFill>
          <a:latin typeface="IBM Plex Sans" charset="0"/>
          <a:ea typeface="IBM Plex Sans" charset="0"/>
          <a:cs typeface="IBM Plex Sans" charset="0"/>
        </a:defRPr>
      </a:lvl1pPr>
      <a:lvl2pPr marL="167632" indent="-167632" algn="l" defTabSz="804635" rtl="0" eaLnBrk="1" latinLnBrk="0" hangingPunct="1">
        <a:lnSpc>
          <a:spcPct val="105000"/>
        </a:lnSpc>
        <a:spcBef>
          <a:spcPts val="733"/>
        </a:spcBef>
        <a:buFont typeface="LucidaGrande" charset="0"/>
        <a:buChar char="-"/>
        <a:defRPr sz="1500" b="0" i="0" kern="1200">
          <a:solidFill>
            <a:schemeClr val="tx1"/>
          </a:solidFill>
          <a:latin typeface="IBM Plex Sans" charset="0"/>
          <a:ea typeface="IBM Plex Sans" charset="0"/>
          <a:cs typeface="IBM Plex Sans" charset="0"/>
        </a:defRPr>
      </a:lvl2pPr>
      <a:lvl3pPr marL="335265" indent="-167632" algn="l" defTabSz="804635" rtl="0" eaLnBrk="1" latinLnBrk="0" hangingPunct="1">
        <a:lnSpc>
          <a:spcPct val="105000"/>
        </a:lnSpc>
        <a:spcBef>
          <a:spcPts val="0"/>
        </a:spcBef>
        <a:buSzPct val="80000"/>
        <a:buFont typeface="Arial" panose="020B0604020202020204" pitchFamily="34" charset="0"/>
        <a:buChar char="•"/>
        <a:defRPr sz="1500" b="0" i="0" kern="1200">
          <a:solidFill>
            <a:schemeClr val="tx1"/>
          </a:solidFill>
          <a:latin typeface="IBM Plex Sans" charset="0"/>
          <a:ea typeface="IBM Plex Sans" charset="0"/>
          <a:cs typeface="IBM Plex Sans" charset="0"/>
        </a:defRPr>
      </a:lvl3pPr>
      <a:lvl4pPr marL="502897" indent="-167632" algn="l" defTabSz="804635" rtl="0" eaLnBrk="1" latinLnBrk="0" hangingPunct="1">
        <a:lnSpc>
          <a:spcPct val="105000"/>
        </a:lnSpc>
        <a:spcBef>
          <a:spcPts val="0"/>
        </a:spcBef>
        <a:buFont typeface=".AppleSystemUIFont" charset="-120"/>
        <a:buChar char="–"/>
        <a:defRPr sz="1500" b="0" i="0" kern="1200">
          <a:solidFill>
            <a:schemeClr val="tx1"/>
          </a:solidFill>
          <a:latin typeface="IBM Plex Sans" charset="0"/>
          <a:ea typeface="IBM Plex Sans" charset="0"/>
          <a:cs typeface="IBM Plex Sans" charset="0"/>
        </a:defRPr>
      </a:lvl4pPr>
      <a:lvl5pPr marL="670530" indent="-167632" algn="l" defTabSz="804635" rtl="0" eaLnBrk="1" latinLnBrk="0" hangingPunct="1">
        <a:lnSpc>
          <a:spcPct val="105000"/>
        </a:lnSpc>
        <a:spcBef>
          <a:spcPts val="0"/>
        </a:spcBef>
        <a:buSzPct val="80000"/>
        <a:buFont typeface="Arial" panose="020B0604020202020204" pitchFamily="34" charset="0"/>
        <a:buChar char="•"/>
        <a:defRPr sz="1500" b="0" i="0" kern="1200">
          <a:solidFill>
            <a:schemeClr val="tx1"/>
          </a:solidFill>
          <a:latin typeface="IBM Plex Sans" charset="0"/>
          <a:ea typeface="IBM Plex Sans" charset="0"/>
          <a:cs typeface="IBM Plex Sans" charset="0"/>
        </a:defRPr>
      </a:lvl5pPr>
      <a:lvl6pPr marL="2212747" indent="-201159" algn="l" defTabSz="804635" rtl="0" eaLnBrk="1" latinLnBrk="0" hangingPunct="1">
        <a:lnSpc>
          <a:spcPct val="90000"/>
        </a:lnSpc>
        <a:spcBef>
          <a:spcPts val="440"/>
        </a:spcBef>
        <a:buFont typeface="Arial" panose="020B0604020202020204" pitchFamily="34" charset="0"/>
        <a:buChar char="•"/>
        <a:defRPr sz="1600" kern="1200">
          <a:solidFill>
            <a:schemeClr val="tx1"/>
          </a:solidFill>
          <a:latin typeface="+mn-lt"/>
          <a:ea typeface="+mn-ea"/>
          <a:cs typeface="+mn-cs"/>
        </a:defRPr>
      </a:lvl6pPr>
      <a:lvl7pPr marL="2615065" indent="-201159" algn="l" defTabSz="804635" rtl="0" eaLnBrk="1" latinLnBrk="0" hangingPunct="1">
        <a:lnSpc>
          <a:spcPct val="90000"/>
        </a:lnSpc>
        <a:spcBef>
          <a:spcPts val="440"/>
        </a:spcBef>
        <a:buFont typeface="Arial" panose="020B0604020202020204" pitchFamily="34" charset="0"/>
        <a:buChar char="•"/>
        <a:defRPr sz="1600" kern="1200">
          <a:solidFill>
            <a:schemeClr val="tx1"/>
          </a:solidFill>
          <a:latin typeface="+mn-lt"/>
          <a:ea typeface="+mn-ea"/>
          <a:cs typeface="+mn-cs"/>
        </a:defRPr>
      </a:lvl7pPr>
      <a:lvl8pPr marL="3017383" indent="-201159" algn="l" defTabSz="804635" rtl="0" eaLnBrk="1" latinLnBrk="0" hangingPunct="1">
        <a:lnSpc>
          <a:spcPct val="90000"/>
        </a:lnSpc>
        <a:spcBef>
          <a:spcPts val="440"/>
        </a:spcBef>
        <a:buFont typeface="Arial" panose="020B0604020202020204" pitchFamily="34" charset="0"/>
        <a:buChar char="•"/>
        <a:defRPr sz="1600" kern="1200">
          <a:solidFill>
            <a:schemeClr val="tx1"/>
          </a:solidFill>
          <a:latin typeface="+mn-lt"/>
          <a:ea typeface="+mn-ea"/>
          <a:cs typeface="+mn-cs"/>
        </a:defRPr>
      </a:lvl8pPr>
      <a:lvl9pPr marL="3419701" indent="-201159" algn="l" defTabSz="804635" rtl="0" eaLnBrk="1" latinLnBrk="0" hangingPunct="1">
        <a:lnSpc>
          <a:spcPct val="90000"/>
        </a:lnSpc>
        <a:spcBef>
          <a:spcPts val="44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804635" rtl="0" eaLnBrk="1" latinLnBrk="0" hangingPunct="1">
        <a:defRPr sz="1600" kern="1200">
          <a:solidFill>
            <a:schemeClr val="tx1"/>
          </a:solidFill>
          <a:latin typeface="+mn-lt"/>
          <a:ea typeface="+mn-ea"/>
          <a:cs typeface="+mn-cs"/>
        </a:defRPr>
      </a:lvl1pPr>
      <a:lvl2pPr marL="402318" algn="l" defTabSz="804635" rtl="0" eaLnBrk="1" latinLnBrk="0" hangingPunct="1">
        <a:defRPr sz="1600" kern="1200">
          <a:solidFill>
            <a:schemeClr val="tx1"/>
          </a:solidFill>
          <a:latin typeface="+mn-lt"/>
          <a:ea typeface="+mn-ea"/>
          <a:cs typeface="+mn-cs"/>
        </a:defRPr>
      </a:lvl2pPr>
      <a:lvl3pPr marL="804635" algn="l" defTabSz="804635" rtl="0" eaLnBrk="1" latinLnBrk="0" hangingPunct="1">
        <a:defRPr sz="1600" kern="1200">
          <a:solidFill>
            <a:schemeClr val="tx1"/>
          </a:solidFill>
          <a:latin typeface="+mn-lt"/>
          <a:ea typeface="+mn-ea"/>
          <a:cs typeface="+mn-cs"/>
        </a:defRPr>
      </a:lvl3pPr>
      <a:lvl4pPr marL="1206953" algn="l" defTabSz="804635" rtl="0" eaLnBrk="1" latinLnBrk="0" hangingPunct="1">
        <a:defRPr sz="1600" kern="1200">
          <a:solidFill>
            <a:schemeClr val="tx1"/>
          </a:solidFill>
          <a:latin typeface="+mn-lt"/>
          <a:ea typeface="+mn-ea"/>
          <a:cs typeface="+mn-cs"/>
        </a:defRPr>
      </a:lvl4pPr>
      <a:lvl5pPr marL="1609271" algn="l" defTabSz="804635" rtl="0" eaLnBrk="1" latinLnBrk="0" hangingPunct="1">
        <a:defRPr sz="1600" kern="1200">
          <a:solidFill>
            <a:schemeClr val="tx1"/>
          </a:solidFill>
          <a:latin typeface="+mn-lt"/>
          <a:ea typeface="+mn-ea"/>
          <a:cs typeface="+mn-cs"/>
        </a:defRPr>
      </a:lvl5pPr>
      <a:lvl6pPr marL="2011589" algn="l" defTabSz="804635" rtl="0" eaLnBrk="1" latinLnBrk="0" hangingPunct="1">
        <a:defRPr sz="1600" kern="1200">
          <a:solidFill>
            <a:schemeClr val="tx1"/>
          </a:solidFill>
          <a:latin typeface="+mn-lt"/>
          <a:ea typeface="+mn-ea"/>
          <a:cs typeface="+mn-cs"/>
        </a:defRPr>
      </a:lvl6pPr>
      <a:lvl7pPr marL="2413906" algn="l" defTabSz="804635" rtl="0" eaLnBrk="1" latinLnBrk="0" hangingPunct="1">
        <a:defRPr sz="1600" kern="1200">
          <a:solidFill>
            <a:schemeClr val="tx1"/>
          </a:solidFill>
          <a:latin typeface="+mn-lt"/>
          <a:ea typeface="+mn-ea"/>
          <a:cs typeface="+mn-cs"/>
        </a:defRPr>
      </a:lvl7pPr>
      <a:lvl8pPr marL="2816224" algn="l" defTabSz="804635" rtl="0" eaLnBrk="1" latinLnBrk="0" hangingPunct="1">
        <a:defRPr sz="1600" kern="1200">
          <a:solidFill>
            <a:schemeClr val="tx1"/>
          </a:solidFill>
          <a:latin typeface="+mn-lt"/>
          <a:ea typeface="+mn-ea"/>
          <a:cs typeface="+mn-cs"/>
        </a:defRPr>
      </a:lvl8pPr>
      <a:lvl9pPr marL="3218542" algn="l" defTabSz="804635"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9563" y="571500"/>
            <a:ext cx="4457700" cy="952500"/>
          </a:xfrm>
          <a:prstGeom prst="rect">
            <a:avLst/>
          </a:prstGeom>
        </p:spPr>
        <p:txBody>
          <a:bodyPr vert="horz" lIns="0" tIns="0" rIns="0" bIns="0" rtlCol="0" anchor="t">
            <a:noAutofit/>
          </a:bodyPr>
          <a:lstStyle/>
          <a:p>
            <a:r>
              <a:rPr lang="en-US" dirty="0"/>
              <a:t>Click to edit Master title style</a:t>
            </a:r>
          </a:p>
        </p:txBody>
      </p:sp>
      <p:pic>
        <p:nvPicPr>
          <p:cNvPr id="8" name="Picture 7"/>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212946" y="6515120"/>
            <a:ext cx="383309" cy="190501"/>
          </a:xfrm>
          <a:prstGeom prst="rect">
            <a:avLst/>
          </a:prstGeom>
        </p:spPr>
      </p:pic>
      <p:grpSp>
        <p:nvGrpSpPr>
          <p:cNvPr id="9" name="Group 8"/>
          <p:cNvGrpSpPr/>
          <p:nvPr userDrawn="1"/>
        </p:nvGrpSpPr>
        <p:grpSpPr>
          <a:xfrm>
            <a:off x="619125" y="6583046"/>
            <a:ext cx="1837164" cy="183809"/>
            <a:chOff x="914400" y="7899655"/>
            <a:chExt cx="2713350" cy="220571"/>
          </a:xfrm>
        </p:grpSpPr>
        <p:sp>
          <p:nvSpPr>
            <p:cNvPr id="1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a:t>
              </a:r>
              <a:r>
                <a:rPr lang="en-US" sz="300" b="0" dirty="0">
                  <a:solidFill>
                    <a:srgbClr val="FFFFFF">
                      <a:alpha val="60000"/>
                    </a:srgbClr>
                  </a:solidFill>
                  <a:latin typeface="IBM Plex Sans" charset="0"/>
                  <a:ea typeface="IBM Plex Sans" charset="0"/>
                  <a:cs typeface="IBM Plex Sans" charset="0"/>
                </a:rPr>
                <a:t> </a:t>
              </a:r>
              <a:r>
                <a:rPr lang="en-US" sz="600" b="0" dirty="0">
                  <a:solidFill>
                    <a:srgbClr val="FFFFFF">
                      <a:alpha val="60000"/>
                    </a:srgbClr>
                  </a:solidFill>
                  <a:latin typeface="IBM Plex Sans" charset="0"/>
                  <a:ea typeface="IBM Plex Sans" charset="0"/>
                  <a:cs typeface="IBM Plex Sans" charset="0"/>
                </a:rPr>
                <a:t>2018 IBM Corporation               </a:t>
              </a:r>
            </a:p>
          </p:txBody>
        </p:sp>
        <p:sp>
          <p:nvSpPr>
            <p:cNvPr id="11"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FFFFFF">
                      <a:alpha val="60000"/>
                    </a:srgbClr>
                  </a:solidFill>
                  <a:latin typeface="IBM Plex Sans" charset="0"/>
                  <a:ea typeface="IBM Plex Sans" charset="0"/>
                  <a:cs typeface="IBM Plex Sans" charset="0"/>
                </a:rPr>
                <a:t> </a:t>
              </a:r>
              <a:fld id="{7C9968D1-C8E5-4FE3-AED4-7D4518C301B3}" type="datetime3">
                <a:rPr lang="en-US" sz="600" b="0" smtClean="0">
                  <a:solidFill>
                    <a:srgbClr val="FFFFFF">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FFFFFF">
                    <a:alpha val="60000"/>
                  </a:srgbClr>
                </a:solidFill>
                <a:latin typeface="IBM Plex Sans" charset="0"/>
                <a:ea typeface="IBM Plex Sans" charset="0"/>
                <a:cs typeface="IBM Plex Sans" charset="0"/>
              </a:endParaRPr>
            </a:p>
          </p:txBody>
        </p:sp>
      </p:grpSp>
      <p:sp>
        <p:nvSpPr>
          <p:cNvPr id="12" name="Footer Placeholder 3"/>
          <p:cNvSpPr txBox="1">
            <a:spLocks/>
          </p:cNvSpPr>
          <p:nvPr userDrawn="1"/>
        </p:nvSpPr>
        <p:spPr>
          <a:xfrm>
            <a:off x="2631281" y="6583680"/>
            <a:ext cx="154674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IBM Institute for Business Value</a:t>
            </a:r>
          </a:p>
        </p:txBody>
      </p:sp>
      <p:sp>
        <p:nvSpPr>
          <p:cNvPr id="13"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grpSp>
        <p:nvGrpSpPr>
          <p:cNvPr id="51" name="Group 50"/>
          <p:cNvGrpSpPr/>
          <p:nvPr userDrawn="1"/>
        </p:nvGrpSpPr>
        <p:grpSpPr>
          <a:xfrm>
            <a:off x="-167165" y="-190499"/>
            <a:ext cx="10227947" cy="7209772"/>
            <a:chOff x="-109730" y="-110489"/>
            <a:chExt cx="9352896" cy="5351811"/>
          </a:xfrm>
        </p:grpSpPr>
        <p:grpSp>
          <p:nvGrpSpPr>
            <p:cNvPr id="52" name="Group 51"/>
            <p:cNvGrpSpPr/>
            <p:nvPr userDrawn="1"/>
          </p:nvGrpSpPr>
          <p:grpSpPr>
            <a:xfrm>
              <a:off x="326211" y="-110489"/>
              <a:ext cx="8492338" cy="119718"/>
              <a:chOff x="326211" y="-152399"/>
              <a:chExt cx="8492338" cy="199534"/>
            </a:xfrm>
          </p:grpSpPr>
          <p:cxnSp>
            <p:nvCxnSpPr>
              <p:cNvPr id="77" name="Straight Connector 76"/>
              <p:cNvCxnSpPr/>
              <p:nvPr userDrawn="1"/>
            </p:nvCxnSpPr>
            <p:spPr bwMode="auto">
              <a:xfrm rot="5400000" flipH="1">
                <a:off x="250011" y="-2906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rot="5400000" flipH="1">
                <a:off x="2090018"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rot="5400000" flipH="1">
                <a:off x="2231557"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rot="5400000" flipH="1">
                <a:off x="2373096"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rot="5400000" flipH="1">
                <a:off x="4354641"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2" name="Straight Connector 81"/>
              <p:cNvCxnSpPr/>
              <p:nvPr userDrawn="1"/>
            </p:nvCxnSpPr>
            <p:spPr bwMode="auto">
              <a:xfrm rot="5400000" flipH="1">
                <a:off x="4496180"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4637719"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6619265"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6760804"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6902342"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p:cNvCxnSpPr/>
              <p:nvPr userDrawn="1"/>
            </p:nvCxnSpPr>
            <p:spPr bwMode="auto">
              <a:xfrm rot="5400000" flipH="1">
                <a:off x="8742349" y="-29065"/>
                <a:ext cx="152399"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3" name="Group 52"/>
            <p:cNvGrpSpPr/>
            <p:nvPr userDrawn="1"/>
          </p:nvGrpSpPr>
          <p:grpSpPr>
            <a:xfrm>
              <a:off x="326211" y="5143289"/>
              <a:ext cx="8492338" cy="98033"/>
              <a:chOff x="326211" y="5111418"/>
              <a:chExt cx="8492338" cy="163389"/>
            </a:xfrm>
          </p:grpSpPr>
          <p:cxnSp>
            <p:nvCxnSpPr>
              <p:cNvPr id="66" name="Straight Connector 65"/>
              <p:cNvCxnSpPr/>
              <p:nvPr userDrawn="1"/>
            </p:nvCxnSpPr>
            <p:spPr bwMode="auto">
              <a:xfrm rot="5400000" flipH="1">
                <a:off x="250011" y="5187632"/>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rot="5400000" flipH="1">
                <a:off x="2090017"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rot="5400000" flipH="1">
                <a:off x="2231556"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rot="5400000" flipH="1">
                <a:off x="2373095"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rot="5400000" flipH="1">
                <a:off x="4354641"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rot="5400000" flipH="1">
                <a:off x="4496180"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rot="5400000" flipH="1">
                <a:off x="4637719"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3" name="Straight Connector 72"/>
              <p:cNvCxnSpPr/>
              <p:nvPr userDrawn="1"/>
            </p:nvCxnSpPr>
            <p:spPr bwMode="auto">
              <a:xfrm rot="5400000" flipH="1">
                <a:off x="6619264"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rot="5400000" flipH="1">
                <a:off x="6760803"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rot="5400000" flipH="1">
                <a:off x="6902342"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rot="5400000" flipH="1">
                <a:off x="8742348" y="5187619"/>
                <a:ext cx="152402"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4" name="Group 53"/>
            <p:cNvGrpSpPr/>
            <p:nvPr userDrawn="1"/>
          </p:nvGrpSpPr>
          <p:grpSpPr>
            <a:xfrm>
              <a:off x="-109730" y="313734"/>
              <a:ext cx="124556" cy="4525058"/>
              <a:chOff x="-109730" y="313734"/>
              <a:chExt cx="124556" cy="4525058"/>
            </a:xfrm>
          </p:grpSpPr>
          <p:cxnSp>
            <p:nvCxnSpPr>
              <p:cNvPr id="61" name="Straight Connector 60"/>
              <p:cNvCxnSpPr/>
              <p:nvPr userDrawn="1"/>
            </p:nvCxnSpPr>
            <p:spPr bwMode="auto">
              <a:xfrm flipH="1">
                <a:off x="-109730" y="1303590"/>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2" name="Straight Connector 61"/>
              <p:cNvCxnSpPr/>
              <p:nvPr userDrawn="1"/>
            </p:nvCxnSpPr>
            <p:spPr bwMode="auto">
              <a:xfrm flipH="1">
                <a:off x="-109730" y="2576262"/>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3" name="Straight Connector 62"/>
              <p:cNvCxnSpPr/>
              <p:nvPr userDrawn="1"/>
            </p:nvCxnSpPr>
            <p:spPr bwMode="auto">
              <a:xfrm flipH="1">
                <a:off x="-109730" y="384962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4" name="Straight Connector 63"/>
              <p:cNvCxnSpPr/>
              <p:nvPr userDrawn="1"/>
            </p:nvCxnSpPr>
            <p:spPr bwMode="auto">
              <a:xfrm flipH="1">
                <a:off x="-98406" y="31373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flipH="1">
                <a:off x="-76614" y="4838792"/>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5" name="Group 54"/>
            <p:cNvGrpSpPr/>
            <p:nvPr userDrawn="1"/>
          </p:nvGrpSpPr>
          <p:grpSpPr>
            <a:xfrm>
              <a:off x="9123418" y="313734"/>
              <a:ext cx="119748" cy="4525057"/>
              <a:chOff x="-149362" y="307384"/>
              <a:chExt cx="119748" cy="4525057"/>
            </a:xfrm>
          </p:grpSpPr>
          <p:cxnSp>
            <p:nvCxnSpPr>
              <p:cNvPr id="56" name="Straight Connector 55"/>
              <p:cNvCxnSpPr/>
              <p:nvPr userDrawn="1"/>
            </p:nvCxnSpPr>
            <p:spPr bwMode="auto">
              <a:xfrm flipH="1">
                <a:off x="-142845" y="1297240"/>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7" name="Straight Connector 56"/>
              <p:cNvCxnSpPr/>
              <p:nvPr userDrawn="1"/>
            </p:nvCxnSpPr>
            <p:spPr bwMode="auto">
              <a:xfrm flipH="1">
                <a:off x="-142845" y="2569913"/>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8" name="Straight Connector 57"/>
              <p:cNvCxnSpPr/>
              <p:nvPr userDrawn="1"/>
            </p:nvCxnSpPr>
            <p:spPr bwMode="auto">
              <a:xfrm flipH="1">
                <a:off x="-142845" y="384327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9" name="Straight Connector 58"/>
              <p:cNvCxnSpPr/>
              <p:nvPr userDrawn="1"/>
            </p:nvCxnSpPr>
            <p:spPr bwMode="auto">
              <a:xfrm flipH="1">
                <a:off x="-149362" y="30738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0" name="Straight Connector 59"/>
              <p:cNvCxnSpPr/>
              <p:nvPr userDrawn="1"/>
            </p:nvCxnSpPr>
            <p:spPr bwMode="auto">
              <a:xfrm flipH="1">
                <a:off x="-121054" y="4832441"/>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987388941"/>
      </p:ext>
    </p:extLst>
  </p:cSld>
  <p:clrMap bg1="lt1" tx1="dk1" bg2="lt2" tx2="dk2" accent1="accent1" accent2="accent2" accent3="accent3" accent4="accent4" accent5="accent5" accent6="accent6" hlink="hlink" folHlink="folHlink"/>
  <p:sldLayoutIdLst>
    <p:sldLayoutId id="2147484306" r:id="rId1"/>
    <p:sldLayoutId id="2147484307" r:id="rId2"/>
    <p:sldLayoutId id="2147484308" r:id="rId3"/>
    <p:sldLayoutId id="2147484309" r:id="rId4"/>
    <p:sldLayoutId id="2147484310" r:id="rId5"/>
    <p:sldLayoutId id="2147484311" r:id="rId6"/>
    <p:sldLayoutId id="2147484312" r:id="rId7"/>
    <p:sldLayoutId id="2147484313" r:id="rId8"/>
  </p:sldLayoutIdLst>
  <p:txStyles>
    <p:titleStyle>
      <a:lvl1pPr algn="l" defTabSz="804635" rtl="0" eaLnBrk="1" latinLnBrk="0" hangingPunct="1">
        <a:lnSpc>
          <a:spcPct val="90000"/>
        </a:lnSpc>
        <a:spcBef>
          <a:spcPct val="0"/>
        </a:spcBef>
        <a:buNone/>
        <a:defRPr sz="2600" b="0" i="0" kern="1200">
          <a:solidFill>
            <a:schemeClr val="bg2"/>
          </a:solidFill>
          <a:latin typeface="IBM Plex Sans" charset="0"/>
          <a:ea typeface="IBM Plex Sans" charset="0"/>
          <a:cs typeface="IBM Plex Sans" charset="0"/>
        </a:defRPr>
      </a:lvl1pPr>
    </p:titleStyle>
    <p:bodyStyle>
      <a:lvl1pPr marL="33526" indent="0" algn="l" defTabSz="804635" rtl="0" eaLnBrk="1" latinLnBrk="0" hangingPunct="1">
        <a:lnSpc>
          <a:spcPct val="105000"/>
        </a:lnSpc>
        <a:spcBef>
          <a:spcPts val="880"/>
        </a:spcBef>
        <a:buFontTx/>
        <a:buNone/>
        <a:defRPr sz="1500" b="0" i="0" kern="1200">
          <a:solidFill>
            <a:schemeClr val="bg2"/>
          </a:solidFill>
          <a:latin typeface="IBM Plex Sans Regular" charset="0"/>
          <a:ea typeface="+mn-ea"/>
          <a:cs typeface="+mn-cs"/>
        </a:defRPr>
      </a:lvl1pPr>
      <a:lvl2pPr marL="167632" indent="-167632" algn="l" defTabSz="804635" rtl="0" eaLnBrk="1" latinLnBrk="0" hangingPunct="1">
        <a:lnSpc>
          <a:spcPct val="105000"/>
        </a:lnSpc>
        <a:spcBef>
          <a:spcPts val="733"/>
        </a:spcBef>
        <a:buFont typeface="LucidaGrande" charset="0"/>
        <a:buChar char="-"/>
        <a:defRPr sz="1500" b="0" i="0" kern="1200">
          <a:solidFill>
            <a:schemeClr val="bg2"/>
          </a:solidFill>
          <a:latin typeface="IBM Plex Sans Regular" charset="0"/>
          <a:ea typeface="+mn-ea"/>
          <a:cs typeface="+mn-cs"/>
        </a:defRPr>
      </a:lvl2pPr>
      <a:lvl3pPr marL="335265" indent="-167632" algn="l" defTabSz="804635" rtl="0" eaLnBrk="1" latinLnBrk="0" hangingPunct="1">
        <a:lnSpc>
          <a:spcPct val="105000"/>
        </a:lnSpc>
        <a:spcBef>
          <a:spcPts val="0"/>
        </a:spcBef>
        <a:buSzPct val="80000"/>
        <a:buFont typeface="Arial" panose="020B0604020202020204" pitchFamily="34" charset="0"/>
        <a:buChar char="•"/>
        <a:defRPr sz="1500" b="0" i="0" kern="1200">
          <a:solidFill>
            <a:schemeClr val="bg2"/>
          </a:solidFill>
          <a:latin typeface="IBM Plex Sans Regular" charset="0"/>
          <a:ea typeface="+mn-ea"/>
          <a:cs typeface="+mn-cs"/>
        </a:defRPr>
      </a:lvl3pPr>
      <a:lvl4pPr marL="502897" indent="-167632" algn="l" defTabSz="804635" rtl="0" eaLnBrk="1" latinLnBrk="0" hangingPunct="1">
        <a:lnSpc>
          <a:spcPct val="105000"/>
        </a:lnSpc>
        <a:spcBef>
          <a:spcPts val="0"/>
        </a:spcBef>
        <a:buFont typeface=".AppleSystemUIFont" charset="-120"/>
        <a:buChar char="–"/>
        <a:defRPr sz="1500" b="0" i="0" kern="1200">
          <a:solidFill>
            <a:schemeClr val="bg2"/>
          </a:solidFill>
          <a:latin typeface="IBM Plex Sans Regular" charset="0"/>
          <a:ea typeface="+mn-ea"/>
          <a:cs typeface="+mn-cs"/>
        </a:defRPr>
      </a:lvl4pPr>
      <a:lvl5pPr marL="670530" indent="-167632" algn="l" defTabSz="804635" rtl="0" eaLnBrk="1" latinLnBrk="0" hangingPunct="1">
        <a:lnSpc>
          <a:spcPct val="105000"/>
        </a:lnSpc>
        <a:spcBef>
          <a:spcPts val="0"/>
        </a:spcBef>
        <a:buSzPct val="80000"/>
        <a:buFont typeface="Arial" panose="020B0604020202020204" pitchFamily="34" charset="0"/>
        <a:buChar char="•"/>
        <a:defRPr sz="1500" b="0" i="0" kern="1200">
          <a:solidFill>
            <a:schemeClr val="bg2"/>
          </a:solidFill>
          <a:latin typeface="IBM Plex Sans Regular" charset="0"/>
          <a:ea typeface="+mn-ea"/>
          <a:cs typeface="+mn-cs"/>
        </a:defRPr>
      </a:lvl5pPr>
      <a:lvl6pPr marL="2212747" indent="-201159" algn="l" defTabSz="804635" rtl="0" eaLnBrk="1" latinLnBrk="0" hangingPunct="1">
        <a:lnSpc>
          <a:spcPct val="90000"/>
        </a:lnSpc>
        <a:spcBef>
          <a:spcPts val="440"/>
        </a:spcBef>
        <a:buFont typeface="Arial" panose="020B0604020202020204" pitchFamily="34" charset="0"/>
        <a:buChar char="•"/>
        <a:defRPr sz="1600" kern="1200">
          <a:solidFill>
            <a:schemeClr val="tx1"/>
          </a:solidFill>
          <a:latin typeface="+mn-lt"/>
          <a:ea typeface="+mn-ea"/>
          <a:cs typeface="+mn-cs"/>
        </a:defRPr>
      </a:lvl6pPr>
      <a:lvl7pPr marL="2615065" indent="-201159" algn="l" defTabSz="804635" rtl="0" eaLnBrk="1" latinLnBrk="0" hangingPunct="1">
        <a:lnSpc>
          <a:spcPct val="90000"/>
        </a:lnSpc>
        <a:spcBef>
          <a:spcPts val="440"/>
        </a:spcBef>
        <a:buFont typeface="Arial" panose="020B0604020202020204" pitchFamily="34" charset="0"/>
        <a:buChar char="•"/>
        <a:defRPr sz="1600" kern="1200">
          <a:solidFill>
            <a:schemeClr val="tx1"/>
          </a:solidFill>
          <a:latin typeface="+mn-lt"/>
          <a:ea typeface="+mn-ea"/>
          <a:cs typeface="+mn-cs"/>
        </a:defRPr>
      </a:lvl7pPr>
      <a:lvl8pPr marL="3017383" indent="-201159" algn="l" defTabSz="804635" rtl="0" eaLnBrk="1" latinLnBrk="0" hangingPunct="1">
        <a:lnSpc>
          <a:spcPct val="90000"/>
        </a:lnSpc>
        <a:spcBef>
          <a:spcPts val="440"/>
        </a:spcBef>
        <a:buFont typeface="Arial" panose="020B0604020202020204" pitchFamily="34" charset="0"/>
        <a:buChar char="•"/>
        <a:defRPr sz="1600" kern="1200">
          <a:solidFill>
            <a:schemeClr val="tx1"/>
          </a:solidFill>
          <a:latin typeface="+mn-lt"/>
          <a:ea typeface="+mn-ea"/>
          <a:cs typeface="+mn-cs"/>
        </a:defRPr>
      </a:lvl8pPr>
      <a:lvl9pPr marL="3419701" indent="-201159" algn="l" defTabSz="804635" rtl="0" eaLnBrk="1" latinLnBrk="0" hangingPunct="1">
        <a:lnSpc>
          <a:spcPct val="90000"/>
        </a:lnSpc>
        <a:spcBef>
          <a:spcPts val="44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804635" rtl="0" eaLnBrk="1" latinLnBrk="0" hangingPunct="1">
        <a:defRPr sz="1600" kern="1200">
          <a:solidFill>
            <a:schemeClr val="tx1"/>
          </a:solidFill>
          <a:latin typeface="+mn-lt"/>
          <a:ea typeface="+mn-ea"/>
          <a:cs typeface="+mn-cs"/>
        </a:defRPr>
      </a:lvl1pPr>
      <a:lvl2pPr marL="402318" algn="l" defTabSz="804635" rtl="0" eaLnBrk="1" latinLnBrk="0" hangingPunct="1">
        <a:defRPr sz="1600" kern="1200">
          <a:solidFill>
            <a:schemeClr val="tx1"/>
          </a:solidFill>
          <a:latin typeface="+mn-lt"/>
          <a:ea typeface="+mn-ea"/>
          <a:cs typeface="+mn-cs"/>
        </a:defRPr>
      </a:lvl2pPr>
      <a:lvl3pPr marL="804635" algn="l" defTabSz="804635" rtl="0" eaLnBrk="1" latinLnBrk="0" hangingPunct="1">
        <a:defRPr sz="1600" kern="1200">
          <a:solidFill>
            <a:schemeClr val="tx1"/>
          </a:solidFill>
          <a:latin typeface="+mn-lt"/>
          <a:ea typeface="+mn-ea"/>
          <a:cs typeface="+mn-cs"/>
        </a:defRPr>
      </a:lvl3pPr>
      <a:lvl4pPr marL="1206953" algn="l" defTabSz="804635" rtl="0" eaLnBrk="1" latinLnBrk="0" hangingPunct="1">
        <a:defRPr sz="1600" kern="1200">
          <a:solidFill>
            <a:schemeClr val="tx1"/>
          </a:solidFill>
          <a:latin typeface="+mn-lt"/>
          <a:ea typeface="+mn-ea"/>
          <a:cs typeface="+mn-cs"/>
        </a:defRPr>
      </a:lvl4pPr>
      <a:lvl5pPr marL="1609271" algn="l" defTabSz="804635" rtl="0" eaLnBrk="1" latinLnBrk="0" hangingPunct="1">
        <a:defRPr sz="1600" kern="1200">
          <a:solidFill>
            <a:schemeClr val="tx1"/>
          </a:solidFill>
          <a:latin typeface="+mn-lt"/>
          <a:ea typeface="+mn-ea"/>
          <a:cs typeface="+mn-cs"/>
        </a:defRPr>
      </a:lvl5pPr>
      <a:lvl6pPr marL="2011589" algn="l" defTabSz="804635" rtl="0" eaLnBrk="1" latinLnBrk="0" hangingPunct="1">
        <a:defRPr sz="1600" kern="1200">
          <a:solidFill>
            <a:schemeClr val="tx1"/>
          </a:solidFill>
          <a:latin typeface="+mn-lt"/>
          <a:ea typeface="+mn-ea"/>
          <a:cs typeface="+mn-cs"/>
        </a:defRPr>
      </a:lvl6pPr>
      <a:lvl7pPr marL="2413906" algn="l" defTabSz="804635" rtl="0" eaLnBrk="1" latinLnBrk="0" hangingPunct="1">
        <a:defRPr sz="1600" kern="1200">
          <a:solidFill>
            <a:schemeClr val="tx1"/>
          </a:solidFill>
          <a:latin typeface="+mn-lt"/>
          <a:ea typeface="+mn-ea"/>
          <a:cs typeface="+mn-cs"/>
        </a:defRPr>
      </a:lvl7pPr>
      <a:lvl8pPr marL="2816224" algn="l" defTabSz="804635" rtl="0" eaLnBrk="1" latinLnBrk="0" hangingPunct="1">
        <a:defRPr sz="1600" kern="1200">
          <a:solidFill>
            <a:schemeClr val="tx1"/>
          </a:solidFill>
          <a:latin typeface="+mn-lt"/>
          <a:ea typeface="+mn-ea"/>
          <a:cs typeface="+mn-cs"/>
        </a:defRPr>
      </a:lvl8pPr>
      <a:lvl9pPr marL="3218542" algn="l" defTabSz="804635"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9563" y="571500"/>
            <a:ext cx="4457700" cy="9525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309563" y="1714500"/>
            <a:ext cx="4457700" cy="4381500"/>
          </a:xfrm>
          <a:prstGeom prst="rect">
            <a:avLst/>
          </a:prstGeom>
        </p:spPr>
        <p:txBody>
          <a:bodyPr vert="horz" lIns="0" tIns="167632" rIns="0" bIns="0" rtlCol="0" anchor="t">
            <a:noAutofit/>
          </a:bodyPr>
          <a:lstStyle/>
          <a:p>
            <a:pPr lvl="0"/>
            <a:r>
              <a:rPr lang="en-US" dirty="0"/>
              <a:t>Click to edit Master text styles</a:t>
            </a:r>
          </a:p>
          <a:p>
            <a:pPr lvl="1"/>
            <a:r>
              <a:rPr lang="en-US" dirty="0"/>
              <a:t>Second level</a:t>
            </a:r>
          </a:p>
          <a:p>
            <a:pPr lvl="2"/>
            <a:r>
              <a:rPr lang="en-US" dirty="0"/>
              <a:t>Third level</a:t>
            </a:r>
          </a:p>
          <a:p>
            <a:pPr lvl="2"/>
            <a:r>
              <a:rPr lang="en-US" dirty="0"/>
              <a:t>Third level</a:t>
            </a:r>
          </a:p>
          <a:p>
            <a:pPr lvl="3"/>
            <a:r>
              <a:rPr lang="en-US" dirty="0"/>
              <a:t>Fourth level</a:t>
            </a:r>
          </a:p>
          <a:p>
            <a:pPr lvl="4"/>
            <a:r>
              <a:rPr lang="en-US" dirty="0"/>
              <a:t>Fifth level</a:t>
            </a:r>
          </a:p>
        </p:txBody>
      </p:sp>
      <p:grpSp>
        <p:nvGrpSpPr>
          <p:cNvPr id="8" name="Group 7"/>
          <p:cNvGrpSpPr/>
          <p:nvPr userDrawn="1"/>
        </p:nvGrpSpPr>
        <p:grpSpPr>
          <a:xfrm>
            <a:off x="619125" y="6583046"/>
            <a:ext cx="1775252" cy="183809"/>
            <a:chOff x="914400" y="7899655"/>
            <a:chExt cx="2621910" cy="220571"/>
          </a:xfrm>
        </p:grpSpPr>
        <p:sp>
          <p:nvSpPr>
            <p:cNvPr id="9"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a:t>
              </a:r>
              <a:r>
                <a:rPr lang="en-US" sz="300" b="0" dirty="0">
                  <a:solidFill>
                    <a:srgbClr val="FFFFFF">
                      <a:alpha val="60000"/>
                    </a:srgbClr>
                  </a:solidFill>
                  <a:latin typeface="IBM Plex Sans" charset="0"/>
                  <a:ea typeface="IBM Plex Sans" charset="0"/>
                  <a:cs typeface="IBM Plex Sans" charset="0"/>
                </a:rPr>
                <a:t> </a:t>
              </a:r>
              <a:r>
                <a:rPr lang="en-US" sz="600" b="0" dirty="0">
                  <a:solidFill>
                    <a:srgbClr val="FFFFFF">
                      <a:alpha val="60000"/>
                    </a:srgbClr>
                  </a:solidFill>
                  <a:latin typeface="IBM Plex Sans" charset="0"/>
                  <a:ea typeface="IBM Plex Sans" charset="0"/>
                  <a:cs typeface="IBM Plex Sans" charset="0"/>
                </a:rPr>
                <a:t>2019 IBM Corporation               </a:t>
              </a:r>
            </a:p>
          </p:txBody>
        </p:sp>
        <p:sp>
          <p:nvSpPr>
            <p:cNvPr id="10" name="Date Placeholder 2"/>
            <p:cNvSpPr txBox="1">
              <a:spLocks/>
            </p:cNvSpPr>
            <p:nvPr userDrawn="1"/>
          </p:nvSpPr>
          <p:spPr>
            <a:xfrm>
              <a:off x="2256150" y="7899655"/>
              <a:ext cx="128016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0" dirty="0">
                  <a:solidFill>
                    <a:srgbClr val="FFFFFF">
                      <a:alpha val="60000"/>
                    </a:srgbClr>
                  </a:solidFill>
                  <a:latin typeface="IBM Plex Sans" charset="0"/>
                  <a:ea typeface="IBM Plex Sans" charset="0"/>
                  <a:cs typeface="IBM Plex Sans" charset="0"/>
                </a:rPr>
                <a:t> </a:t>
              </a:r>
              <a:fld id="{7C9968D1-C8E5-4FE3-AED4-7D4518C301B3}" type="datetime3">
                <a:rPr lang="en-US" sz="600" b="0" smtClean="0">
                  <a:solidFill>
                    <a:srgbClr val="FFFFFF">
                      <a:alpha val="60000"/>
                    </a:srgbClr>
                  </a:solidFill>
                  <a:latin typeface="IBM Plex Sans" charset="0"/>
                  <a:ea typeface="IBM Plex Sans" charset="0"/>
                  <a:cs typeface="IBM Plex Sans" charset="0"/>
                </a:rPr>
                <a:pPr fontAlgn="auto">
                  <a:spcBef>
                    <a:spcPts val="0"/>
                  </a:spcBef>
                  <a:spcAft>
                    <a:spcPts val="0"/>
                  </a:spcAft>
                  <a:defRPr/>
                </a:pPr>
                <a:t>5 January 2022</a:t>
              </a:fld>
              <a:endParaRPr lang="en-US" sz="600" b="0" dirty="0">
                <a:solidFill>
                  <a:srgbClr val="FFFFFF">
                    <a:alpha val="60000"/>
                  </a:srgbClr>
                </a:solidFill>
                <a:latin typeface="IBM Plex Sans" charset="0"/>
                <a:ea typeface="IBM Plex Sans" charset="0"/>
                <a:cs typeface="IBM Plex Sans" charset="0"/>
              </a:endParaRPr>
            </a:p>
          </p:txBody>
        </p:sp>
      </p:grpSp>
      <p:sp>
        <p:nvSpPr>
          <p:cNvPr id="11" name="Footer Placeholder 3"/>
          <p:cNvSpPr txBox="1">
            <a:spLocks/>
          </p:cNvSpPr>
          <p:nvPr userDrawn="1"/>
        </p:nvSpPr>
        <p:spPr>
          <a:xfrm>
            <a:off x="2631281" y="6583680"/>
            <a:ext cx="2693194"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r>
              <a:rPr lang="en-US" sz="600" b="0" dirty="0">
                <a:solidFill>
                  <a:srgbClr val="FFFFFF">
                    <a:alpha val="60000"/>
                  </a:srgbClr>
                </a:solidFill>
                <a:latin typeface="IBM Plex Sans" charset="0"/>
                <a:ea typeface="IBM Plex Sans" charset="0"/>
                <a:cs typeface="IBM Plex Sans" charset="0"/>
              </a:rPr>
              <a:t>IBM Institute for Business Value</a:t>
            </a:r>
          </a:p>
        </p:txBody>
      </p:sp>
      <p:sp>
        <p:nvSpPr>
          <p:cNvPr id="12" name="Slide Number Placeholder 2"/>
          <p:cNvSpPr txBox="1">
            <a:spLocks/>
          </p:cNvSpPr>
          <p:nvPr userDrawn="1"/>
        </p:nvSpPr>
        <p:spPr>
          <a:xfrm>
            <a:off x="307977" y="6578160"/>
            <a:ext cx="222001"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3FD999D4-B456-9943-89B7-30D56181CE18}" type="slidenum">
              <a:rPr lang="en-US" sz="600" b="0" smtClean="0">
                <a:solidFill>
                  <a:srgbClr val="FFFFFF"/>
                </a:solidFill>
                <a:latin typeface="IBM Plex Sans" charset="0"/>
                <a:ea typeface="IBM Plex Sans" charset="0"/>
                <a:cs typeface="IBM Plex Sans" charset="0"/>
              </a:rPr>
              <a:pPr fontAlgn="auto">
                <a:spcBef>
                  <a:spcPts val="0"/>
                </a:spcBef>
                <a:spcAft>
                  <a:spcPts val="0"/>
                </a:spcAft>
              </a:pPr>
              <a:t>‹#›</a:t>
            </a:fld>
            <a:endParaRPr lang="en-US" sz="600" b="0" dirty="0">
              <a:solidFill>
                <a:srgbClr val="FFFFFF"/>
              </a:solidFill>
              <a:latin typeface="IBM Plex Sans" charset="0"/>
              <a:ea typeface="IBM Plex Sans" charset="0"/>
              <a:cs typeface="IBM Plex Sans" charset="0"/>
            </a:endParaRPr>
          </a:p>
        </p:txBody>
      </p:sp>
      <p:grpSp>
        <p:nvGrpSpPr>
          <p:cNvPr id="50" name="Group 49"/>
          <p:cNvGrpSpPr/>
          <p:nvPr userDrawn="1"/>
        </p:nvGrpSpPr>
        <p:grpSpPr>
          <a:xfrm>
            <a:off x="-167165" y="-190499"/>
            <a:ext cx="10227947" cy="7209772"/>
            <a:chOff x="-109730" y="-110489"/>
            <a:chExt cx="9352896" cy="5351811"/>
          </a:xfrm>
        </p:grpSpPr>
        <p:grpSp>
          <p:nvGrpSpPr>
            <p:cNvPr id="51" name="Group 50"/>
            <p:cNvGrpSpPr/>
            <p:nvPr userDrawn="1"/>
          </p:nvGrpSpPr>
          <p:grpSpPr>
            <a:xfrm>
              <a:off x="326211" y="-110489"/>
              <a:ext cx="8492338" cy="119718"/>
              <a:chOff x="326211" y="-152399"/>
              <a:chExt cx="8492338" cy="199534"/>
            </a:xfrm>
          </p:grpSpPr>
          <p:cxnSp>
            <p:nvCxnSpPr>
              <p:cNvPr id="76" name="Straight Connector 75"/>
              <p:cNvCxnSpPr/>
              <p:nvPr userDrawn="1"/>
            </p:nvCxnSpPr>
            <p:spPr bwMode="auto">
              <a:xfrm rot="5400000" flipH="1">
                <a:off x="250011" y="-2906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rot="5400000" flipH="1">
                <a:off x="2090018"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rot="5400000" flipH="1">
                <a:off x="2231557"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rot="5400000" flipH="1">
                <a:off x="2373096"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rot="5400000" flipH="1">
                <a:off x="4354641"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rot="5400000" flipH="1">
                <a:off x="4496180"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2" name="Straight Connector 81"/>
              <p:cNvCxnSpPr/>
              <p:nvPr userDrawn="1"/>
            </p:nvCxnSpPr>
            <p:spPr bwMode="auto">
              <a:xfrm rot="5400000" flipH="1">
                <a:off x="4637719"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6619265"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6760804"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6902342"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8742349" y="-29065"/>
                <a:ext cx="152399"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2" name="Group 51"/>
            <p:cNvGrpSpPr/>
            <p:nvPr userDrawn="1"/>
          </p:nvGrpSpPr>
          <p:grpSpPr>
            <a:xfrm>
              <a:off x="326211" y="5143289"/>
              <a:ext cx="8492338" cy="98033"/>
              <a:chOff x="326211" y="5111418"/>
              <a:chExt cx="8492338" cy="163389"/>
            </a:xfrm>
          </p:grpSpPr>
          <p:cxnSp>
            <p:nvCxnSpPr>
              <p:cNvPr id="65" name="Straight Connector 64"/>
              <p:cNvCxnSpPr/>
              <p:nvPr userDrawn="1"/>
            </p:nvCxnSpPr>
            <p:spPr bwMode="auto">
              <a:xfrm rot="5400000" flipH="1">
                <a:off x="250011" y="5187632"/>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rot="5400000" flipH="1">
                <a:off x="2090017"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rot="5400000" flipH="1">
                <a:off x="2231556"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rot="5400000" flipH="1">
                <a:off x="2373095"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rot="5400000" flipH="1">
                <a:off x="4354641"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rot="5400000" flipH="1">
                <a:off x="4496180"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rot="5400000" flipH="1">
                <a:off x="4637719"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rot="5400000" flipH="1">
                <a:off x="6619264"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3" name="Straight Connector 72"/>
              <p:cNvCxnSpPr/>
              <p:nvPr userDrawn="1"/>
            </p:nvCxnSpPr>
            <p:spPr bwMode="auto">
              <a:xfrm rot="5400000" flipH="1">
                <a:off x="6760803"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rot="5400000" flipH="1">
                <a:off x="6902342"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rot="5400000" flipH="1">
                <a:off x="8742348" y="5187619"/>
                <a:ext cx="152402"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3" name="Group 52"/>
            <p:cNvGrpSpPr/>
            <p:nvPr userDrawn="1"/>
          </p:nvGrpSpPr>
          <p:grpSpPr>
            <a:xfrm>
              <a:off x="-109730" y="313734"/>
              <a:ext cx="124556" cy="4525058"/>
              <a:chOff x="-109730" y="313734"/>
              <a:chExt cx="124556" cy="4525058"/>
            </a:xfrm>
          </p:grpSpPr>
          <p:cxnSp>
            <p:nvCxnSpPr>
              <p:cNvPr id="60" name="Straight Connector 59"/>
              <p:cNvCxnSpPr/>
              <p:nvPr userDrawn="1"/>
            </p:nvCxnSpPr>
            <p:spPr bwMode="auto">
              <a:xfrm flipH="1">
                <a:off x="-109730" y="1303590"/>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1" name="Straight Connector 60"/>
              <p:cNvCxnSpPr/>
              <p:nvPr userDrawn="1"/>
            </p:nvCxnSpPr>
            <p:spPr bwMode="auto">
              <a:xfrm flipH="1">
                <a:off x="-109730" y="2576262"/>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2" name="Straight Connector 61"/>
              <p:cNvCxnSpPr/>
              <p:nvPr userDrawn="1"/>
            </p:nvCxnSpPr>
            <p:spPr bwMode="auto">
              <a:xfrm flipH="1">
                <a:off x="-109730" y="384962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3" name="Straight Connector 62"/>
              <p:cNvCxnSpPr/>
              <p:nvPr userDrawn="1"/>
            </p:nvCxnSpPr>
            <p:spPr bwMode="auto">
              <a:xfrm flipH="1">
                <a:off x="-98406" y="31373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4" name="Straight Connector 63"/>
              <p:cNvCxnSpPr/>
              <p:nvPr userDrawn="1"/>
            </p:nvCxnSpPr>
            <p:spPr bwMode="auto">
              <a:xfrm flipH="1">
                <a:off x="-76614" y="4838792"/>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4" name="Group 53"/>
            <p:cNvGrpSpPr/>
            <p:nvPr userDrawn="1"/>
          </p:nvGrpSpPr>
          <p:grpSpPr>
            <a:xfrm>
              <a:off x="9123418" y="313734"/>
              <a:ext cx="119748" cy="4525057"/>
              <a:chOff x="-149362" y="307384"/>
              <a:chExt cx="119748" cy="4525057"/>
            </a:xfrm>
          </p:grpSpPr>
          <p:cxnSp>
            <p:nvCxnSpPr>
              <p:cNvPr id="55" name="Straight Connector 54"/>
              <p:cNvCxnSpPr/>
              <p:nvPr userDrawn="1"/>
            </p:nvCxnSpPr>
            <p:spPr bwMode="auto">
              <a:xfrm flipH="1">
                <a:off x="-142845" y="1297240"/>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6" name="Straight Connector 55"/>
              <p:cNvCxnSpPr/>
              <p:nvPr userDrawn="1"/>
            </p:nvCxnSpPr>
            <p:spPr bwMode="auto">
              <a:xfrm flipH="1">
                <a:off x="-142845" y="2569913"/>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7" name="Straight Connector 56"/>
              <p:cNvCxnSpPr/>
              <p:nvPr userDrawn="1"/>
            </p:nvCxnSpPr>
            <p:spPr bwMode="auto">
              <a:xfrm flipH="1">
                <a:off x="-142845" y="384327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8" name="Straight Connector 57"/>
              <p:cNvCxnSpPr/>
              <p:nvPr userDrawn="1"/>
            </p:nvCxnSpPr>
            <p:spPr bwMode="auto">
              <a:xfrm flipH="1">
                <a:off x="-149362" y="30738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9" name="Straight Connector 58"/>
              <p:cNvCxnSpPr/>
              <p:nvPr userDrawn="1"/>
            </p:nvCxnSpPr>
            <p:spPr bwMode="auto">
              <a:xfrm flipH="1">
                <a:off x="-121054" y="4832441"/>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pic>
        <p:nvPicPr>
          <p:cNvPr id="46" name="Picture 45"/>
          <p:cNvPicPr>
            <a:picLocks noChangeAspect="1"/>
          </p:cNvPicPr>
          <p:nvPr userDrawn="1"/>
        </p:nvPicPr>
        <p:blipFill>
          <a:blip r:embed="rId18">
            <a:extLst>
              <a:ext uri="{28A0092B-C50C-407E-A947-70E740481C1C}">
                <a14:useLocalDpi xmlns:a14="http://schemas.microsoft.com/office/drawing/2010/main"/>
              </a:ext>
            </a:extLst>
          </a:blip>
          <a:stretch>
            <a:fillRect/>
          </a:stretch>
        </p:blipFill>
        <p:spPr>
          <a:xfrm>
            <a:off x="9212946" y="6515120"/>
            <a:ext cx="383309" cy="190501"/>
          </a:xfrm>
          <a:prstGeom prst="rect">
            <a:avLst/>
          </a:prstGeom>
        </p:spPr>
      </p:pic>
    </p:spTree>
    <p:extLst>
      <p:ext uri="{BB962C8B-B14F-4D97-AF65-F5344CB8AC3E}">
        <p14:creationId xmlns:p14="http://schemas.microsoft.com/office/powerpoint/2010/main" val="1911808813"/>
      </p:ext>
    </p:extLst>
  </p:cSld>
  <p:clrMap bg1="lt1" tx1="dk1" bg2="lt2" tx2="dk2" accent1="accent1" accent2="accent2" accent3="accent3" accent4="accent4" accent5="accent5" accent6="accent6" hlink="hlink" folHlink="folHlink"/>
  <p:sldLayoutIdLst>
    <p:sldLayoutId id="2147484316" r:id="rId1"/>
    <p:sldLayoutId id="2147484317" r:id="rId2"/>
    <p:sldLayoutId id="2147484318" r:id="rId3"/>
    <p:sldLayoutId id="2147484319" r:id="rId4"/>
    <p:sldLayoutId id="2147484320" r:id="rId5"/>
    <p:sldLayoutId id="2147484321" r:id="rId6"/>
    <p:sldLayoutId id="2147484322" r:id="rId7"/>
    <p:sldLayoutId id="2147484323" r:id="rId8"/>
    <p:sldLayoutId id="2147484324" r:id="rId9"/>
    <p:sldLayoutId id="2147484325" r:id="rId10"/>
    <p:sldLayoutId id="2147484326" r:id="rId11"/>
    <p:sldLayoutId id="2147484327" r:id="rId12"/>
    <p:sldLayoutId id="2147484328" r:id="rId13"/>
    <p:sldLayoutId id="2147484329" r:id="rId14"/>
    <p:sldLayoutId id="2147484330" r:id="rId15"/>
    <p:sldLayoutId id="2147484331" r:id="rId16"/>
  </p:sldLayoutIdLst>
  <p:txStyles>
    <p:titleStyle>
      <a:lvl1pPr algn="l" defTabSz="804635" rtl="0" eaLnBrk="1" latinLnBrk="0" hangingPunct="1">
        <a:lnSpc>
          <a:spcPct val="90000"/>
        </a:lnSpc>
        <a:spcBef>
          <a:spcPct val="0"/>
        </a:spcBef>
        <a:buNone/>
        <a:defRPr sz="2600" b="0" i="0" kern="1200">
          <a:solidFill>
            <a:schemeClr val="bg2"/>
          </a:solidFill>
          <a:latin typeface="IBM Plex Sans" charset="0"/>
          <a:ea typeface="IBM Plex Sans" charset="0"/>
          <a:cs typeface="IBM Plex Sans" charset="0"/>
        </a:defRPr>
      </a:lvl1pPr>
    </p:titleStyle>
    <p:bodyStyle>
      <a:lvl1pPr marL="0" indent="0" algn="l" defTabSz="804635" rtl="0" eaLnBrk="1" latinLnBrk="0" hangingPunct="1">
        <a:lnSpc>
          <a:spcPct val="105000"/>
        </a:lnSpc>
        <a:spcBef>
          <a:spcPts val="880"/>
        </a:spcBef>
        <a:buFontTx/>
        <a:buNone/>
        <a:tabLst/>
        <a:defRPr sz="1500" b="0" i="0" kern="1200">
          <a:solidFill>
            <a:schemeClr val="bg2"/>
          </a:solidFill>
          <a:latin typeface="IBM Plex Sans" charset="0"/>
          <a:ea typeface="IBM Plex Sans" charset="0"/>
          <a:cs typeface="IBM Plex Sans" charset="0"/>
        </a:defRPr>
      </a:lvl1pPr>
      <a:lvl2pPr marL="167632" indent="-167632" algn="l" defTabSz="804635" rtl="0" eaLnBrk="1" latinLnBrk="0" hangingPunct="1">
        <a:lnSpc>
          <a:spcPct val="105000"/>
        </a:lnSpc>
        <a:spcBef>
          <a:spcPts val="733"/>
        </a:spcBef>
        <a:buFont typeface="LucidaGrande" charset="0"/>
        <a:buChar char="-"/>
        <a:defRPr sz="1500" b="0" i="0" kern="1200">
          <a:solidFill>
            <a:schemeClr val="bg2"/>
          </a:solidFill>
          <a:latin typeface="IBM Plex Sans" charset="0"/>
          <a:ea typeface="IBM Plex Sans" charset="0"/>
          <a:cs typeface="IBM Plex Sans" charset="0"/>
        </a:defRPr>
      </a:lvl2pPr>
      <a:lvl3pPr marL="335265" indent="-167632" algn="l" defTabSz="804635" rtl="0" eaLnBrk="1" latinLnBrk="0" hangingPunct="1">
        <a:lnSpc>
          <a:spcPct val="105000"/>
        </a:lnSpc>
        <a:spcBef>
          <a:spcPts val="0"/>
        </a:spcBef>
        <a:buSzPct val="80000"/>
        <a:buFont typeface="Arial" panose="020B0604020202020204" pitchFamily="34" charset="0"/>
        <a:buChar char="•"/>
        <a:defRPr sz="1500" b="0" i="0" kern="1200">
          <a:solidFill>
            <a:schemeClr val="bg2"/>
          </a:solidFill>
          <a:latin typeface="IBM Plex Sans" charset="0"/>
          <a:ea typeface="IBM Plex Sans" charset="0"/>
          <a:cs typeface="IBM Plex Sans" charset="0"/>
        </a:defRPr>
      </a:lvl3pPr>
      <a:lvl4pPr marL="502897" indent="-167632" algn="l" defTabSz="804635" rtl="0" eaLnBrk="1" latinLnBrk="0" hangingPunct="1">
        <a:lnSpc>
          <a:spcPct val="105000"/>
        </a:lnSpc>
        <a:spcBef>
          <a:spcPts val="0"/>
        </a:spcBef>
        <a:buFont typeface=".AppleSystemUIFont" charset="-120"/>
        <a:buChar char="–"/>
        <a:defRPr sz="1500" b="0" i="0" kern="1200">
          <a:solidFill>
            <a:schemeClr val="bg2"/>
          </a:solidFill>
          <a:latin typeface="IBM Plex Sans" charset="0"/>
          <a:ea typeface="IBM Plex Sans" charset="0"/>
          <a:cs typeface="IBM Plex Sans" charset="0"/>
        </a:defRPr>
      </a:lvl4pPr>
      <a:lvl5pPr marL="670530" indent="-167632" algn="l" defTabSz="804635" rtl="0" eaLnBrk="1" latinLnBrk="0" hangingPunct="1">
        <a:lnSpc>
          <a:spcPct val="105000"/>
        </a:lnSpc>
        <a:spcBef>
          <a:spcPts val="0"/>
        </a:spcBef>
        <a:buSzPct val="80000"/>
        <a:buFont typeface="Arial" panose="020B0604020202020204" pitchFamily="34" charset="0"/>
        <a:buChar char="•"/>
        <a:defRPr sz="1500" b="0" i="0" kern="1200">
          <a:solidFill>
            <a:schemeClr val="bg2"/>
          </a:solidFill>
          <a:latin typeface="IBM Plex Sans" charset="0"/>
          <a:ea typeface="IBM Plex Sans" charset="0"/>
          <a:cs typeface="IBM Plex Sans" charset="0"/>
        </a:defRPr>
      </a:lvl5pPr>
      <a:lvl6pPr marL="2212747" indent="-201159" algn="l" defTabSz="804635" rtl="0" eaLnBrk="1" latinLnBrk="0" hangingPunct="1">
        <a:lnSpc>
          <a:spcPct val="90000"/>
        </a:lnSpc>
        <a:spcBef>
          <a:spcPts val="440"/>
        </a:spcBef>
        <a:buFont typeface="Arial" panose="020B0604020202020204" pitchFamily="34" charset="0"/>
        <a:buChar char="•"/>
        <a:defRPr sz="1600" kern="1200">
          <a:solidFill>
            <a:schemeClr val="tx1"/>
          </a:solidFill>
          <a:latin typeface="+mn-lt"/>
          <a:ea typeface="+mn-ea"/>
          <a:cs typeface="+mn-cs"/>
        </a:defRPr>
      </a:lvl6pPr>
      <a:lvl7pPr marL="2615065" indent="-201159" algn="l" defTabSz="804635" rtl="0" eaLnBrk="1" latinLnBrk="0" hangingPunct="1">
        <a:lnSpc>
          <a:spcPct val="90000"/>
        </a:lnSpc>
        <a:spcBef>
          <a:spcPts val="440"/>
        </a:spcBef>
        <a:buFont typeface="Arial" panose="020B0604020202020204" pitchFamily="34" charset="0"/>
        <a:buChar char="•"/>
        <a:defRPr sz="1600" kern="1200">
          <a:solidFill>
            <a:schemeClr val="tx1"/>
          </a:solidFill>
          <a:latin typeface="+mn-lt"/>
          <a:ea typeface="+mn-ea"/>
          <a:cs typeface="+mn-cs"/>
        </a:defRPr>
      </a:lvl7pPr>
      <a:lvl8pPr marL="3017383" indent="-201159" algn="l" defTabSz="804635" rtl="0" eaLnBrk="1" latinLnBrk="0" hangingPunct="1">
        <a:lnSpc>
          <a:spcPct val="90000"/>
        </a:lnSpc>
        <a:spcBef>
          <a:spcPts val="440"/>
        </a:spcBef>
        <a:buFont typeface="Arial" panose="020B0604020202020204" pitchFamily="34" charset="0"/>
        <a:buChar char="•"/>
        <a:defRPr sz="1600" kern="1200">
          <a:solidFill>
            <a:schemeClr val="tx1"/>
          </a:solidFill>
          <a:latin typeface="+mn-lt"/>
          <a:ea typeface="+mn-ea"/>
          <a:cs typeface="+mn-cs"/>
        </a:defRPr>
      </a:lvl8pPr>
      <a:lvl9pPr marL="3419701" indent="-201159" algn="l" defTabSz="804635" rtl="0" eaLnBrk="1" latinLnBrk="0" hangingPunct="1">
        <a:lnSpc>
          <a:spcPct val="90000"/>
        </a:lnSpc>
        <a:spcBef>
          <a:spcPts val="44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804635" rtl="0" eaLnBrk="1" latinLnBrk="0" hangingPunct="1">
        <a:defRPr sz="1600" kern="1200">
          <a:solidFill>
            <a:schemeClr val="tx1"/>
          </a:solidFill>
          <a:latin typeface="+mn-lt"/>
          <a:ea typeface="+mn-ea"/>
          <a:cs typeface="+mn-cs"/>
        </a:defRPr>
      </a:lvl1pPr>
      <a:lvl2pPr marL="402318" algn="l" defTabSz="804635" rtl="0" eaLnBrk="1" latinLnBrk="0" hangingPunct="1">
        <a:defRPr sz="1600" kern="1200">
          <a:solidFill>
            <a:schemeClr val="tx1"/>
          </a:solidFill>
          <a:latin typeface="+mn-lt"/>
          <a:ea typeface="+mn-ea"/>
          <a:cs typeface="+mn-cs"/>
        </a:defRPr>
      </a:lvl2pPr>
      <a:lvl3pPr marL="804635" algn="l" defTabSz="804635" rtl="0" eaLnBrk="1" latinLnBrk="0" hangingPunct="1">
        <a:defRPr sz="1600" kern="1200">
          <a:solidFill>
            <a:schemeClr val="tx1"/>
          </a:solidFill>
          <a:latin typeface="+mn-lt"/>
          <a:ea typeface="+mn-ea"/>
          <a:cs typeface="+mn-cs"/>
        </a:defRPr>
      </a:lvl3pPr>
      <a:lvl4pPr marL="1206953" algn="l" defTabSz="804635" rtl="0" eaLnBrk="1" latinLnBrk="0" hangingPunct="1">
        <a:defRPr sz="1600" kern="1200">
          <a:solidFill>
            <a:schemeClr val="tx1"/>
          </a:solidFill>
          <a:latin typeface="+mn-lt"/>
          <a:ea typeface="+mn-ea"/>
          <a:cs typeface="+mn-cs"/>
        </a:defRPr>
      </a:lvl4pPr>
      <a:lvl5pPr marL="1609271" algn="l" defTabSz="804635" rtl="0" eaLnBrk="1" latinLnBrk="0" hangingPunct="1">
        <a:defRPr sz="1600" kern="1200">
          <a:solidFill>
            <a:schemeClr val="tx1"/>
          </a:solidFill>
          <a:latin typeface="+mn-lt"/>
          <a:ea typeface="+mn-ea"/>
          <a:cs typeface="+mn-cs"/>
        </a:defRPr>
      </a:lvl5pPr>
      <a:lvl6pPr marL="2011589" algn="l" defTabSz="804635" rtl="0" eaLnBrk="1" latinLnBrk="0" hangingPunct="1">
        <a:defRPr sz="1600" kern="1200">
          <a:solidFill>
            <a:schemeClr val="tx1"/>
          </a:solidFill>
          <a:latin typeface="+mn-lt"/>
          <a:ea typeface="+mn-ea"/>
          <a:cs typeface="+mn-cs"/>
        </a:defRPr>
      </a:lvl6pPr>
      <a:lvl7pPr marL="2413906" algn="l" defTabSz="804635" rtl="0" eaLnBrk="1" latinLnBrk="0" hangingPunct="1">
        <a:defRPr sz="1600" kern="1200">
          <a:solidFill>
            <a:schemeClr val="tx1"/>
          </a:solidFill>
          <a:latin typeface="+mn-lt"/>
          <a:ea typeface="+mn-ea"/>
          <a:cs typeface="+mn-cs"/>
        </a:defRPr>
      </a:lvl7pPr>
      <a:lvl8pPr marL="2816224" algn="l" defTabSz="804635" rtl="0" eaLnBrk="1" latinLnBrk="0" hangingPunct="1">
        <a:defRPr sz="1600" kern="1200">
          <a:solidFill>
            <a:schemeClr val="tx1"/>
          </a:solidFill>
          <a:latin typeface="+mn-lt"/>
          <a:ea typeface="+mn-ea"/>
          <a:cs typeface="+mn-cs"/>
        </a:defRPr>
      </a:lvl8pPr>
      <a:lvl9pPr marL="3218542" algn="l" defTabSz="804635"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9563" y="365125"/>
            <a:ext cx="4457700" cy="952500"/>
          </a:xfrm>
          <a:prstGeom prst="rect">
            <a:avLst/>
          </a:prstGeom>
        </p:spPr>
        <p:txBody>
          <a:bodyPr vert="horz" lIns="0" tIns="0" rIns="0" bIns="0" rtlCol="0" anchor="t">
            <a:normAutofit/>
          </a:bodyPr>
          <a:lstStyle/>
          <a:p>
            <a:r>
              <a:rPr lang="en-US" dirty="0"/>
              <a:t>Click to edit Master title style</a:t>
            </a:r>
          </a:p>
        </p:txBody>
      </p:sp>
      <p:sp>
        <p:nvSpPr>
          <p:cNvPr id="3" name="Text Placeholder 2"/>
          <p:cNvSpPr>
            <a:spLocks noGrp="1"/>
          </p:cNvSpPr>
          <p:nvPr>
            <p:ph type="body" idx="1"/>
          </p:nvPr>
        </p:nvSpPr>
        <p:spPr>
          <a:xfrm>
            <a:off x="309563" y="1714500"/>
            <a:ext cx="4457700" cy="4572000"/>
          </a:xfrm>
          <a:prstGeom prst="rect">
            <a:avLst/>
          </a:prstGeom>
        </p:spPr>
        <p:txBody>
          <a:bodyPr vert="horz" lIns="0" tIns="0" rIns="0" bIns="0" rtlCol="0" anchor="t">
            <a:normAutofit/>
          </a:bodyPr>
          <a:lstStyle/>
          <a:p>
            <a:pPr lvl="0"/>
            <a:r>
              <a:rPr lang="en-US" dirty="0"/>
              <a:t>Click to edit Master text styles</a:t>
            </a:r>
          </a:p>
          <a:p>
            <a:pPr lvl="1"/>
            <a:r>
              <a:rPr lang="en-US" dirty="0"/>
              <a:t>Second level</a:t>
            </a:r>
          </a:p>
          <a:p>
            <a:pPr lvl="2"/>
            <a:r>
              <a:rPr lang="en-US" dirty="0"/>
              <a:t>Third level</a:t>
            </a:r>
          </a:p>
          <a:p>
            <a:pPr lvl="2"/>
            <a:r>
              <a:rPr lang="en-US" dirty="0"/>
              <a:t>Third level</a:t>
            </a:r>
          </a:p>
          <a:p>
            <a:pPr lvl="3"/>
            <a:r>
              <a:rPr lang="en-US" dirty="0"/>
              <a:t>Fourth level</a:t>
            </a:r>
          </a:p>
          <a:p>
            <a:pPr lvl="4"/>
            <a:r>
              <a:rPr lang="en-US" dirty="0"/>
              <a:t>Fifth level</a:t>
            </a:r>
          </a:p>
        </p:txBody>
      </p:sp>
      <p:sp>
        <p:nvSpPr>
          <p:cNvPr id="5" name="TextBox 4"/>
          <p:cNvSpPr txBox="1"/>
          <p:nvPr userDrawn="1"/>
        </p:nvSpPr>
        <p:spPr>
          <a:xfrm>
            <a:off x="6322979" y="1053830"/>
            <a:ext cx="2499553" cy="3289570"/>
          </a:xfrm>
          <a:prstGeom prst="rect">
            <a:avLst/>
          </a:prstGeom>
        </p:spPr>
        <p:txBody>
          <a:bodyPr wrap="none" lIns="0" tIns="0" rIns="0" bIns="0" rtlCol="0">
            <a:noAutofit/>
          </a:bodyPr>
          <a:lstStyle/>
          <a:p>
            <a:pPr defTabSz="804571" eaLnBrk="1" fontAlgn="auto" hangingPunct="1">
              <a:spcBef>
                <a:spcPts val="0"/>
              </a:spcBef>
              <a:spcAft>
                <a:spcPts val="0"/>
              </a:spcAft>
            </a:pPr>
            <a:endParaRPr lang="en-US" sz="1600" b="0" dirty="0">
              <a:latin typeface="Arial"/>
              <a:ea typeface="Arial" charset="0"/>
              <a:cs typeface="Arial" charset="0"/>
            </a:endParaRPr>
          </a:p>
        </p:txBody>
      </p:sp>
      <p:sp>
        <p:nvSpPr>
          <p:cNvPr id="6" name="TextBox 5"/>
          <p:cNvSpPr txBox="1"/>
          <p:nvPr userDrawn="1"/>
        </p:nvSpPr>
        <p:spPr>
          <a:xfrm>
            <a:off x="6322979" y="1317627"/>
            <a:ext cx="2809116" cy="2835275"/>
          </a:xfrm>
          <a:prstGeom prst="rect">
            <a:avLst/>
          </a:prstGeom>
        </p:spPr>
        <p:txBody>
          <a:bodyPr wrap="square" lIns="0" tIns="0" rIns="0" bIns="0" rtlCol="0">
            <a:noAutofit/>
          </a:bodyPr>
          <a:lstStyle/>
          <a:p>
            <a:pPr defTabSz="804571" eaLnBrk="1" fontAlgn="auto" hangingPunct="1">
              <a:spcBef>
                <a:spcPts val="0"/>
              </a:spcBef>
              <a:spcAft>
                <a:spcPts val="0"/>
              </a:spcAft>
            </a:pPr>
            <a:endParaRPr lang="en-US" sz="1600" b="0" dirty="0">
              <a:solidFill>
                <a:srgbClr val="FFFFFF"/>
              </a:solidFill>
              <a:latin typeface="Arial"/>
              <a:ea typeface="+mn-ea"/>
            </a:endParaRPr>
          </a:p>
        </p:txBody>
      </p:sp>
      <p:grpSp>
        <p:nvGrpSpPr>
          <p:cNvPr id="44" name="Group 43"/>
          <p:cNvGrpSpPr/>
          <p:nvPr userDrawn="1"/>
        </p:nvGrpSpPr>
        <p:grpSpPr>
          <a:xfrm>
            <a:off x="-167165" y="-190499"/>
            <a:ext cx="10227948" cy="7209772"/>
            <a:chOff x="-109730" y="-110489"/>
            <a:chExt cx="9352896" cy="5351811"/>
          </a:xfrm>
        </p:grpSpPr>
        <p:grpSp>
          <p:nvGrpSpPr>
            <p:cNvPr id="45" name="Group 44"/>
            <p:cNvGrpSpPr/>
            <p:nvPr userDrawn="1"/>
          </p:nvGrpSpPr>
          <p:grpSpPr>
            <a:xfrm>
              <a:off x="326211" y="-110489"/>
              <a:ext cx="8492338" cy="119718"/>
              <a:chOff x="326211" y="-152399"/>
              <a:chExt cx="8492338" cy="199534"/>
            </a:xfrm>
          </p:grpSpPr>
          <p:cxnSp>
            <p:nvCxnSpPr>
              <p:cNvPr id="70" name="Straight Connector 69"/>
              <p:cNvCxnSpPr/>
              <p:nvPr userDrawn="1"/>
            </p:nvCxnSpPr>
            <p:spPr bwMode="auto">
              <a:xfrm rot="5400000" flipH="1">
                <a:off x="250011" y="-2906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rot="5400000" flipH="1">
                <a:off x="2090018"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rot="5400000" flipH="1">
                <a:off x="2231557"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3" name="Straight Connector 72"/>
              <p:cNvCxnSpPr/>
              <p:nvPr userDrawn="1"/>
            </p:nvCxnSpPr>
            <p:spPr bwMode="auto">
              <a:xfrm rot="5400000" flipH="1">
                <a:off x="2373096"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rot="5400000" flipH="1">
                <a:off x="4354641"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rot="5400000" flipH="1">
                <a:off x="4496180"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rot="5400000" flipH="1">
                <a:off x="4637719"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rot="5400000" flipH="1">
                <a:off x="6619265"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rot="5400000" flipH="1">
                <a:off x="6760804"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rot="5400000" flipH="1">
                <a:off x="6902342"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rot="5400000" flipH="1">
                <a:off x="8742349" y="-29065"/>
                <a:ext cx="152399"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46" name="Group 45"/>
            <p:cNvGrpSpPr/>
            <p:nvPr userDrawn="1"/>
          </p:nvGrpSpPr>
          <p:grpSpPr>
            <a:xfrm>
              <a:off x="326211" y="5143289"/>
              <a:ext cx="8492338" cy="98033"/>
              <a:chOff x="326211" y="5111418"/>
              <a:chExt cx="8492338" cy="163389"/>
            </a:xfrm>
          </p:grpSpPr>
          <p:cxnSp>
            <p:nvCxnSpPr>
              <p:cNvPr id="59" name="Straight Connector 58"/>
              <p:cNvCxnSpPr/>
              <p:nvPr userDrawn="1"/>
            </p:nvCxnSpPr>
            <p:spPr bwMode="auto">
              <a:xfrm rot="5400000" flipH="1">
                <a:off x="250011" y="5187632"/>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0" name="Straight Connector 59"/>
              <p:cNvCxnSpPr/>
              <p:nvPr userDrawn="1"/>
            </p:nvCxnSpPr>
            <p:spPr bwMode="auto">
              <a:xfrm rot="5400000" flipH="1">
                <a:off x="2090017"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1" name="Straight Connector 60"/>
              <p:cNvCxnSpPr/>
              <p:nvPr userDrawn="1"/>
            </p:nvCxnSpPr>
            <p:spPr bwMode="auto">
              <a:xfrm rot="5400000" flipH="1">
                <a:off x="2231556"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2" name="Straight Connector 61"/>
              <p:cNvCxnSpPr/>
              <p:nvPr userDrawn="1"/>
            </p:nvCxnSpPr>
            <p:spPr bwMode="auto">
              <a:xfrm rot="5400000" flipH="1">
                <a:off x="2373095"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3" name="Straight Connector 62"/>
              <p:cNvCxnSpPr/>
              <p:nvPr userDrawn="1"/>
            </p:nvCxnSpPr>
            <p:spPr bwMode="auto">
              <a:xfrm rot="5400000" flipH="1">
                <a:off x="4354641"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4" name="Straight Connector 63"/>
              <p:cNvCxnSpPr/>
              <p:nvPr userDrawn="1"/>
            </p:nvCxnSpPr>
            <p:spPr bwMode="auto">
              <a:xfrm rot="5400000" flipH="1">
                <a:off x="4496180"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rot="5400000" flipH="1">
                <a:off x="4637719"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rot="5400000" flipH="1">
                <a:off x="6619264"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rot="5400000" flipH="1">
                <a:off x="6760803"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rot="5400000" flipH="1">
                <a:off x="6902342"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rot="5400000" flipH="1">
                <a:off x="8742348" y="5187619"/>
                <a:ext cx="152402"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47" name="Group 46"/>
            <p:cNvGrpSpPr/>
            <p:nvPr userDrawn="1"/>
          </p:nvGrpSpPr>
          <p:grpSpPr>
            <a:xfrm>
              <a:off x="-109730" y="313734"/>
              <a:ext cx="124556" cy="4525058"/>
              <a:chOff x="-109730" y="313734"/>
              <a:chExt cx="124556" cy="4525058"/>
            </a:xfrm>
          </p:grpSpPr>
          <p:cxnSp>
            <p:nvCxnSpPr>
              <p:cNvPr id="54" name="Straight Connector 53"/>
              <p:cNvCxnSpPr/>
              <p:nvPr userDrawn="1"/>
            </p:nvCxnSpPr>
            <p:spPr bwMode="auto">
              <a:xfrm flipH="1">
                <a:off x="-109730" y="1303590"/>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5" name="Straight Connector 54"/>
              <p:cNvCxnSpPr/>
              <p:nvPr userDrawn="1"/>
            </p:nvCxnSpPr>
            <p:spPr bwMode="auto">
              <a:xfrm flipH="1">
                <a:off x="-109730" y="2576262"/>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6" name="Straight Connector 55"/>
              <p:cNvCxnSpPr/>
              <p:nvPr userDrawn="1"/>
            </p:nvCxnSpPr>
            <p:spPr bwMode="auto">
              <a:xfrm flipH="1">
                <a:off x="-109730" y="384962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7" name="Straight Connector 56"/>
              <p:cNvCxnSpPr/>
              <p:nvPr userDrawn="1"/>
            </p:nvCxnSpPr>
            <p:spPr bwMode="auto">
              <a:xfrm flipH="1">
                <a:off x="-98406" y="31373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8" name="Straight Connector 57"/>
              <p:cNvCxnSpPr/>
              <p:nvPr userDrawn="1"/>
            </p:nvCxnSpPr>
            <p:spPr bwMode="auto">
              <a:xfrm flipH="1">
                <a:off x="-76614" y="4838792"/>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48" name="Group 47"/>
            <p:cNvGrpSpPr/>
            <p:nvPr userDrawn="1"/>
          </p:nvGrpSpPr>
          <p:grpSpPr>
            <a:xfrm>
              <a:off x="9123418" y="313734"/>
              <a:ext cx="119748" cy="4525057"/>
              <a:chOff x="-149362" y="307384"/>
              <a:chExt cx="119748" cy="4525057"/>
            </a:xfrm>
          </p:grpSpPr>
          <p:cxnSp>
            <p:nvCxnSpPr>
              <p:cNvPr id="49" name="Straight Connector 48"/>
              <p:cNvCxnSpPr/>
              <p:nvPr userDrawn="1"/>
            </p:nvCxnSpPr>
            <p:spPr bwMode="auto">
              <a:xfrm flipH="1">
                <a:off x="-142845" y="1297240"/>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0" name="Straight Connector 49"/>
              <p:cNvCxnSpPr/>
              <p:nvPr userDrawn="1"/>
            </p:nvCxnSpPr>
            <p:spPr bwMode="auto">
              <a:xfrm flipH="1">
                <a:off x="-142845" y="2569913"/>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1" name="Straight Connector 50"/>
              <p:cNvCxnSpPr/>
              <p:nvPr userDrawn="1"/>
            </p:nvCxnSpPr>
            <p:spPr bwMode="auto">
              <a:xfrm flipH="1">
                <a:off x="-142845" y="384327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2" name="Straight Connector 51"/>
              <p:cNvCxnSpPr/>
              <p:nvPr userDrawn="1"/>
            </p:nvCxnSpPr>
            <p:spPr bwMode="auto">
              <a:xfrm flipH="1">
                <a:off x="-149362" y="30738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3" name="Straight Connector 52"/>
              <p:cNvCxnSpPr/>
              <p:nvPr userDrawn="1"/>
            </p:nvCxnSpPr>
            <p:spPr bwMode="auto">
              <a:xfrm flipH="1">
                <a:off x="-121054" y="4832441"/>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209678492"/>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 id="2147484343" r:id="rId11"/>
  </p:sldLayoutIdLst>
  <p:txStyles>
    <p:titleStyle>
      <a:lvl1pPr algn="l" defTabSz="804571" rtl="0" eaLnBrk="1" latinLnBrk="0" hangingPunct="1">
        <a:lnSpc>
          <a:spcPct val="90000"/>
        </a:lnSpc>
        <a:spcBef>
          <a:spcPct val="0"/>
        </a:spcBef>
        <a:buNone/>
        <a:defRPr sz="2600" b="0" i="0" kern="1200">
          <a:solidFill>
            <a:schemeClr val="bg2"/>
          </a:solidFill>
          <a:latin typeface="IBM Plex Sans" panose="020B0503050000000000" pitchFamily="34" charset="0"/>
          <a:ea typeface="IBM Plex Sans" panose="020B0503050000000000" pitchFamily="34" charset="0"/>
          <a:cs typeface="Arial" charset="0"/>
        </a:defRPr>
      </a:lvl1pPr>
    </p:titleStyle>
    <p:bodyStyle>
      <a:lvl1pPr marL="0" indent="0" algn="l" defTabSz="804571" rtl="0" eaLnBrk="1" latinLnBrk="0" hangingPunct="1">
        <a:lnSpc>
          <a:spcPct val="105000"/>
        </a:lnSpc>
        <a:spcBef>
          <a:spcPts val="880"/>
        </a:spcBef>
        <a:buFontTx/>
        <a:buNone/>
        <a:tabLst/>
        <a:defRPr sz="1500" b="0" i="0" kern="1200">
          <a:solidFill>
            <a:schemeClr val="bg2"/>
          </a:solidFill>
          <a:latin typeface="IBM Plex Sans" panose="020B0503050000000000" pitchFamily="34" charset="0"/>
          <a:ea typeface="IBM Plex Sans" panose="020B0503050000000000" pitchFamily="34" charset="0"/>
          <a:cs typeface="Arial" charset="0"/>
        </a:defRPr>
      </a:lvl1pPr>
      <a:lvl2pPr marL="167618" indent="-167618" algn="l" defTabSz="804571" rtl="0" eaLnBrk="1" latinLnBrk="0" hangingPunct="1">
        <a:lnSpc>
          <a:spcPct val="105000"/>
        </a:lnSpc>
        <a:spcBef>
          <a:spcPts val="733"/>
        </a:spcBef>
        <a:buFont typeface="LucidaGrande" charset="0"/>
        <a:buChar char="-"/>
        <a:defRPr sz="1500" b="0" i="0" kern="1200">
          <a:solidFill>
            <a:schemeClr val="bg2"/>
          </a:solidFill>
          <a:latin typeface="IBM Plex Sans" panose="020B0503050000000000" pitchFamily="34" charset="0"/>
          <a:ea typeface="IBM Plex Sans" panose="020B0503050000000000" pitchFamily="34" charset="0"/>
          <a:cs typeface="Arial" charset="0"/>
        </a:defRPr>
      </a:lvl2pPr>
      <a:lvl3pPr marL="335238" indent="-167618" algn="l" defTabSz="804571" rtl="0" eaLnBrk="1" latinLnBrk="0" hangingPunct="1">
        <a:lnSpc>
          <a:spcPct val="105000"/>
        </a:lnSpc>
        <a:spcBef>
          <a:spcPts val="0"/>
        </a:spcBef>
        <a:buFont typeface="Arial" panose="020B0604020202020204" pitchFamily="34" charset="0"/>
        <a:buChar char="•"/>
        <a:defRPr sz="1500" b="0" i="0" kern="1200">
          <a:solidFill>
            <a:schemeClr val="bg2"/>
          </a:solidFill>
          <a:latin typeface="IBM Plex Sans" panose="020B0503050000000000" pitchFamily="34" charset="0"/>
          <a:ea typeface="IBM Plex Sans" panose="020B0503050000000000" pitchFamily="34" charset="0"/>
          <a:cs typeface="Arial" charset="0"/>
        </a:defRPr>
      </a:lvl3pPr>
      <a:lvl4pPr marL="502857" indent="-167618" algn="l" defTabSz="804571" rtl="0" eaLnBrk="1" latinLnBrk="0" hangingPunct="1">
        <a:lnSpc>
          <a:spcPct val="105000"/>
        </a:lnSpc>
        <a:spcBef>
          <a:spcPts val="0"/>
        </a:spcBef>
        <a:buFont typeface=".AppleSystemUIFont" charset="-120"/>
        <a:buChar char="–"/>
        <a:defRPr sz="1500" b="0" i="0" kern="1200">
          <a:solidFill>
            <a:schemeClr val="bg2"/>
          </a:solidFill>
          <a:latin typeface="Arial Regular" charset="0"/>
          <a:ea typeface="+mn-ea"/>
          <a:cs typeface="+mn-cs"/>
        </a:defRPr>
      </a:lvl4pPr>
      <a:lvl5pPr marL="670477" indent="-167618" algn="l" defTabSz="804571" rtl="0" eaLnBrk="1" latinLnBrk="0" hangingPunct="1">
        <a:lnSpc>
          <a:spcPct val="105000"/>
        </a:lnSpc>
        <a:spcBef>
          <a:spcPts val="0"/>
        </a:spcBef>
        <a:buFont typeface="Arial" panose="020B0604020202020204" pitchFamily="34" charset="0"/>
        <a:buChar char="•"/>
        <a:defRPr sz="1500" b="0" i="0" kern="1200">
          <a:solidFill>
            <a:schemeClr val="bg2"/>
          </a:solidFill>
          <a:latin typeface="Arial Regular" charset="0"/>
          <a:ea typeface="+mn-ea"/>
          <a:cs typeface="+mn-cs"/>
        </a:defRPr>
      </a:lvl5pPr>
      <a:lvl6pPr marL="2212571" indent="-201143" algn="l" defTabSz="804571" rtl="0" eaLnBrk="1" latinLnBrk="0" hangingPunct="1">
        <a:lnSpc>
          <a:spcPct val="90000"/>
        </a:lnSpc>
        <a:spcBef>
          <a:spcPts val="440"/>
        </a:spcBef>
        <a:buFont typeface="Arial" panose="020B0604020202020204" pitchFamily="34" charset="0"/>
        <a:buChar char="•"/>
        <a:defRPr sz="1600" kern="1200">
          <a:solidFill>
            <a:schemeClr val="tx1"/>
          </a:solidFill>
          <a:latin typeface="+mn-lt"/>
          <a:ea typeface="+mn-ea"/>
          <a:cs typeface="+mn-cs"/>
        </a:defRPr>
      </a:lvl6pPr>
      <a:lvl7pPr marL="2614855" indent="-201143" algn="l" defTabSz="804571" rtl="0" eaLnBrk="1" latinLnBrk="0" hangingPunct="1">
        <a:lnSpc>
          <a:spcPct val="90000"/>
        </a:lnSpc>
        <a:spcBef>
          <a:spcPts val="440"/>
        </a:spcBef>
        <a:buFont typeface="Arial" panose="020B0604020202020204" pitchFamily="34" charset="0"/>
        <a:buChar char="•"/>
        <a:defRPr sz="1600" kern="1200">
          <a:solidFill>
            <a:schemeClr val="tx1"/>
          </a:solidFill>
          <a:latin typeface="+mn-lt"/>
          <a:ea typeface="+mn-ea"/>
          <a:cs typeface="+mn-cs"/>
        </a:defRPr>
      </a:lvl7pPr>
      <a:lvl8pPr marL="3017142" indent="-201143" algn="l" defTabSz="804571" rtl="0" eaLnBrk="1" latinLnBrk="0" hangingPunct="1">
        <a:lnSpc>
          <a:spcPct val="90000"/>
        </a:lnSpc>
        <a:spcBef>
          <a:spcPts val="440"/>
        </a:spcBef>
        <a:buFont typeface="Arial" panose="020B0604020202020204" pitchFamily="34" charset="0"/>
        <a:buChar char="•"/>
        <a:defRPr sz="1600" kern="1200">
          <a:solidFill>
            <a:schemeClr val="tx1"/>
          </a:solidFill>
          <a:latin typeface="+mn-lt"/>
          <a:ea typeface="+mn-ea"/>
          <a:cs typeface="+mn-cs"/>
        </a:defRPr>
      </a:lvl8pPr>
      <a:lvl9pPr marL="3419428" indent="-201143" algn="l" defTabSz="804571" rtl="0" eaLnBrk="1" latinLnBrk="0" hangingPunct="1">
        <a:lnSpc>
          <a:spcPct val="90000"/>
        </a:lnSpc>
        <a:spcBef>
          <a:spcPts val="44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804571" rtl="0" eaLnBrk="1" latinLnBrk="0" hangingPunct="1">
        <a:defRPr sz="1600" kern="1200">
          <a:solidFill>
            <a:schemeClr val="tx1"/>
          </a:solidFill>
          <a:latin typeface="+mn-lt"/>
          <a:ea typeface="+mn-ea"/>
          <a:cs typeface="+mn-cs"/>
        </a:defRPr>
      </a:lvl1pPr>
      <a:lvl2pPr marL="402285" algn="l" defTabSz="804571" rtl="0" eaLnBrk="1" latinLnBrk="0" hangingPunct="1">
        <a:defRPr sz="1600" kern="1200">
          <a:solidFill>
            <a:schemeClr val="tx1"/>
          </a:solidFill>
          <a:latin typeface="+mn-lt"/>
          <a:ea typeface="+mn-ea"/>
          <a:cs typeface="+mn-cs"/>
        </a:defRPr>
      </a:lvl2pPr>
      <a:lvl3pPr marL="804571" algn="l" defTabSz="804571" rtl="0" eaLnBrk="1" latinLnBrk="0" hangingPunct="1">
        <a:defRPr sz="1600" kern="1200">
          <a:solidFill>
            <a:schemeClr val="tx1"/>
          </a:solidFill>
          <a:latin typeface="+mn-lt"/>
          <a:ea typeface="+mn-ea"/>
          <a:cs typeface="+mn-cs"/>
        </a:defRPr>
      </a:lvl3pPr>
      <a:lvl4pPr marL="1206856" algn="l" defTabSz="804571" rtl="0" eaLnBrk="1" latinLnBrk="0" hangingPunct="1">
        <a:defRPr sz="1600" kern="1200">
          <a:solidFill>
            <a:schemeClr val="tx1"/>
          </a:solidFill>
          <a:latin typeface="+mn-lt"/>
          <a:ea typeface="+mn-ea"/>
          <a:cs typeface="+mn-cs"/>
        </a:defRPr>
      </a:lvl4pPr>
      <a:lvl5pPr marL="1609143" algn="l" defTabSz="804571" rtl="0" eaLnBrk="1" latinLnBrk="0" hangingPunct="1">
        <a:defRPr sz="1600" kern="1200">
          <a:solidFill>
            <a:schemeClr val="tx1"/>
          </a:solidFill>
          <a:latin typeface="+mn-lt"/>
          <a:ea typeface="+mn-ea"/>
          <a:cs typeface="+mn-cs"/>
        </a:defRPr>
      </a:lvl5pPr>
      <a:lvl6pPr marL="2011429" algn="l" defTabSz="804571" rtl="0" eaLnBrk="1" latinLnBrk="0" hangingPunct="1">
        <a:defRPr sz="1600" kern="1200">
          <a:solidFill>
            <a:schemeClr val="tx1"/>
          </a:solidFill>
          <a:latin typeface="+mn-lt"/>
          <a:ea typeface="+mn-ea"/>
          <a:cs typeface="+mn-cs"/>
        </a:defRPr>
      </a:lvl6pPr>
      <a:lvl7pPr marL="2413713" algn="l" defTabSz="804571" rtl="0" eaLnBrk="1" latinLnBrk="0" hangingPunct="1">
        <a:defRPr sz="1600" kern="1200">
          <a:solidFill>
            <a:schemeClr val="tx1"/>
          </a:solidFill>
          <a:latin typeface="+mn-lt"/>
          <a:ea typeface="+mn-ea"/>
          <a:cs typeface="+mn-cs"/>
        </a:defRPr>
      </a:lvl7pPr>
      <a:lvl8pPr marL="2815999" algn="l" defTabSz="804571" rtl="0" eaLnBrk="1" latinLnBrk="0" hangingPunct="1">
        <a:defRPr sz="1600" kern="1200">
          <a:solidFill>
            <a:schemeClr val="tx1"/>
          </a:solidFill>
          <a:latin typeface="+mn-lt"/>
          <a:ea typeface="+mn-ea"/>
          <a:cs typeface="+mn-cs"/>
        </a:defRPr>
      </a:lvl8pPr>
      <a:lvl9pPr marL="3218285" algn="l" defTabSz="80457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2.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6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50.xml"/><Relationship Id="rId6" Type="http://schemas.openxmlformats.org/officeDocument/2006/relationships/image" Target="../media/image21.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30.xml.rels><?xml version="1.0" encoding="UTF-8" standalone="yes"?>
<Relationships xmlns="http://schemas.openxmlformats.org/package/2006/relationships"><Relationship Id="rId8" Type="http://schemas.openxmlformats.org/officeDocument/2006/relationships/image" Target="../media/image46.png"/><Relationship Id="rId18" Type="http://schemas.openxmlformats.org/officeDocument/2006/relationships/image" Target="../media/image48.png"/><Relationship Id="rId3" Type="http://schemas.openxmlformats.org/officeDocument/2006/relationships/image" Target="../media/image42.png"/><Relationship Id="rId7" Type="http://schemas.openxmlformats.org/officeDocument/2006/relationships/image" Target="../media/image78.svg"/><Relationship Id="rId17" Type="http://schemas.openxmlformats.org/officeDocument/2006/relationships/image" Target="../media/image497.sv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47.png"/><Relationship Id="rId4" Type="http://schemas.openxmlformats.org/officeDocument/2006/relationships/image" Target="../media/image43.png"/><Relationship Id="rId9" Type="http://schemas.openxmlformats.org/officeDocument/2006/relationships/image" Target="../media/image487.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t>NFT </a:t>
            </a:r>
            <a:r>
              <a:rPr lang="en-US" b="1" dirty="0" err="1" smtClean="0"/>
              <a:t>GGanbu</a:t>
            </a:r>
            <a:r>
              <a:rPr lang="en-US" b="1" dirty="0" smtClean="0"/>
              <a:t> Platform</a:t>
            </a:r>
            <a:r>
              <a:rPr lang="en-US" b="1" dirty="0"/>
              <a:t/>
            </a:r>
            <a:br>
              <a:rPr lang="en-US" b="1" dirty="0"/>
            </a:br>
            <a:r>
              <a:rPr lang="ko-KR" altLang="en-US" b="1" dirty="0" err="1" smtClean="0">
                <a:solidFill>
                  <a:schemeClr val="accent2"/>
                </a:solidFill>
              </a:rPr>
              <a:t>깐부는</a:t>
            </a:r>
            <a:r>
              <a:rPr lang="ko-KR" altLang="en-US" b="1" dirty="0" smtClean="0">
                <a:solidFill>
                  <a:schemeClr val="accent2"/>
                </a:solidFill>
              </a:rPr>
              <a:t> </a:t>
            </a:r>
            <a:r>
              <a:rPr lang="ko-KR" altLang="en-US" b="1" dirty="0" err="1" smtClean="0">
                <a:solidFill>
                  <a:schemeClr val="accent2"/>
                </a:solidFill>
              </a:rPr>
              <a:t>니꺼</a:t>
            </a:r>
            <a:r>
              <a:rPr lang="ko-KR" altLang="en-US" b="1" dirty="0" smtClean="0">
                <a:solidFill>
                  <a:schemeClr val="accent2"/>
                </a:solidFill>
              </a:rPr>
              <a:t> </a:t>
            </a:r>
            <a:r>
              <a:rPr lang="ko-KR" altLang="en-US" b="1" dirty="0" err="1" smtClean="0">
                <a:solidFill>
                  <a:schemeClr val="accent2"/>
                </a:solidFill>
              </a:rPr>
              <a:t>내꺼</a:t>
            </a:r>
            <a:r>
              <a:rPr lang="ko-KR" altLang="en-US" b="1" dirty="0" smtClean="0">
                <a:solidFill>
                  <a:schemeClr val="accent2"/>
                </a:solidFill>
              </a:rPr>
              <a:t> 없어</a:t>
            </a:r>
            <a:endParaRPr lang="en-US" b="1" dirty="0">
              <a:solidFill>
                <a:schemeClr val="accent2"/>
              </a:soli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12954" y="6515114"/>
            <a:ext cx="383309" cy="190501"/>
          </a:xfrm>
          <a:prstGeom prst="rect">
            <a:avLst/>
          </a:prstGeom>
        </p:spPr>
      </p:pic>
      <p:pic>
        <p:nvPicPr>
          <p:cNvPr id="1085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75265" y="0"/>
            <a:ext cx="5545975" cy="6858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3555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ko-KR" altLang="en-US" dirty="0" err="1" smtClean="0">
                <a:solidFill>
                  <a:schemeClr val="tx2"/>
                </a:solidFill>
                <a:latin typeface="맑은 고딕" pitchFamily="50" charset="-127"/>
              </a:rPr>
              <a:t>탬플릿</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455920" y="157096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461760" y="1575125"/>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153400" y="1575125"/>
            <a:ext cx="131095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지갑</a:t>
            </a:r>
            <a:r>
              <a:rPr kumimoji="0" lang="en-US" altLang="ko-KR" sz="1400" dirty="0" smtClean="0">
                <a:solidFill>
                  <a:schemeClr val="bg1"/>
                </a:solidFill>
              </a:rPr>
              <a:t>(</a:t>
            </a:r>
            <a:r>
              <a:rPr kumimoji="0" lang="ko-KR" altLang="en-US" sz="1400" dirty="0" err="1" smtClean="0">
                <a:solidFill>
                  <a:schemeClr val="bg1"/>
                </a:solidFill>
              </a:rPr>
              <a:t>내정보</a:t>
            </a:r>
            <a:r>
              <a:rPr kumimoji="0" lang="en-US" altLang="ko-KR" sz="1400" dirty="0" smtClean="0">
                <a:solidFill>
                  <a:schemeClr val="bg1"/>
                </a:solidFill>
              </a:rPr>
              <a:t>)</a:t>
            </a:r>
          </a:p>
        </p:txBody>
      </p:sp>
      <p:sp>
        <p:nvSpPr>
          <p:cNvPr id="16" name="Rectangle 37"/>
          <p:cNvSpPr>
            <a:spLocks noChangeArrowheads="1"/>
          </p:cNvSpPr>
          <p:nvPr/>
        </p:nvSpPr>
        <p:spPr bwMode="auto">
          <a:xfrm>
            <a:off x="7467600" y="1566812"/>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sp>
        <p:nvSpPr>
          <p:cNvPr id="10" name="Rectangle 2"/>
          <p:cNvSpPr txBox="1">
            <a:spLocks noChangeArrowheads="1"/>
          </p:cNvSpPr>
          <p:nvPr/>
        </p:nvSpPr>
        <p:spPr bwMode="auto">
          <a:xfrm>
            <a:off x="296863" y="48280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en-US" altLang="ko-KR" sz="1800" b="0" kern="0" dirty="0" smtClean="0">
                <a:latin typeface="맑은 고딕" panose="020B0503020000020004" pitchFamily="50" charset="-127"/>
              </a:rPr>
              <a:t>PPT </a:t>
            </a:r>
            <a:r>
              <a:rPr lang="ko-KR" altLang="en-US" sz="1800" b="0" kern="0" dirty="0" err="1" smtClean="0">
                <a:latin typeface="맑은 고딕" panose="020B0503020000020004" pitchFamily="50" charset="-127"/>
              </a:rPr>
              <a:t>탬플릿</a:t>
            </a:r>
            <a:endParaRPr lang="ko-KR" altLang="en-US" sz="1800" b="0" kern="0" dirty="0">
              <a:latin typeface="맑은 고딕" panose="020B0503020000020004" pitchFamily="50" charset="-127"/>
            </a:endParaRPr>
          </a:p>
        </p:txBody>
      </p:sp>
      <p:pic>
        <p:nvPicPr>
          <p:cNvPr id="107522" name="Picture 2" descr="C:\Users\jihon\Desktop\참고PPT\01\0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190" y="2208068"/>
            <a:ext cx="2255837" cy="514350"/>
          </a:xfrm>
          <a:prstGeom prst="rect">
            <a:avLst/>
          </a:prstGeom>
          <a:noFill/>
          <a:extLst>
            <a:ext uri="{909E8E84-426E-40DD-AFC4-6F175D3DCCD1}">
              <a14:hiddenFill xmlns:a14="http://schemas.microsoft.com/office/drawing/2010/main">
                <a:solidFill>
                  <a:srgbClr val="FFFFFF"/>
                </a:solidFill>
              </a14:hiddenFill>
            </a:ext>
          </a:extLst>
        </p:spPr>
      </p:pic>
      <p:pic>
        <p:nvPicPr>
          <p:cNvPr id="107523" name="Picture 3" descr="C:\Users\jihon\Desktop\참고PPT\02\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214" y="3109480"/>
            <a:ext cx="2109787" cy="51435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 descr="C:\Users\jihon\Desktop\참고PPT\01\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00" y="1546030"/>
            <a:ext cx="2109787" cy="514350"/>
          </a:xfrm>
          <a:prstGeom prst="rect">
            <a:avLst/>
          </a:prstGeom>
          <a:noFill/>
          <a:extLst>
            <a:ext uri="{909E8E84-426E-40DD-AFC4-6F175D3DCCD1}">
              <a14:hiddenFill xmlns:a14="http://schemas.microsoft.com/office/drawing/2010/main">
                <a:solidFill>
                  <a:srgbClr val="FFFFFF"/>
                </a:solidFill>
              </a14:hiddenFill>
            </a:ext>
          </a:extLst>
        </p:spPr>
      </p:pic>
      <p:pic>
        <p:nvPicPr>
          <p:cNvPr id="107524" name="Picture 4" descr="C:\Users\jihon\Desktop\참고PPT\02\02.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560" y="3686175"/>
            <a:ext cx="2255837" cy="51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26020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1.2 </a:t>
            </a:r>
            <a:r>
              <a:rPr lang="ko-KR" altLang="en-US" dirty="0" smtClean="0">
                <a:solidFill>
                  <a:schemeClr val="tx2"/>
                </a:solidFill>
                <a:latin typeface="맑은 고딕" pitchFamily="50" charset="-127"/>
              </a:rPr>
              <a:t>메인 화면 예시</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455920" y="157096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461760" y="1575125"/>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153400" y="1575125"/>
            <a:ext cx="131095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지갑</a:t>
            </a:r>
            <a:r>
              <a:rPr kumimoji="0" lang="en-US" altLang="ko-KR" sz="1400" dirty="0" smtClean="0">
                <a:solidFill>
                  <a:schemeClr val="bg1"/>
                </a:solidFill>
              </a:rPr>
              <a:t>(</a:t>
            </a:r>
            <a:r>
              <a:rPr kumimoji="0" lang="ko-KR" altLang="en-US" sz="1400" dirty="0" err="1" smtClean="0">
                <a:solidFill>
                  <a:schemeClr val="bg1"/>
                </a:solidFill>
              </a:rPr>
              <a:t>내정보</a:t>
            </a:r>
            <a:r>
              <a:rPr kumimoji="0" lang="en-US" altLang="ko-KR" sz="1400" dirty="0" smtClean="0">
                <a:solidFill>
                  <a:schemeClr val="bg1"/>
                </a:solidFill>
              </a:rPr>
              <a:t>)</a:t>
            </a:r>
          </a:p>
        </p:txBody>
      </p:sp>
      <p:sp>
        <p:nvSpPr>
          <p:cNvPr id="16" name="Rectangle 37"/>
          <p:cNvSpPr>
            <a:spLocks noChangeArrowheads="1"/>
          </p:cNvSpPr>
          <p:nvPr/>
        </p:nvSpPr>
        <p:spPr bwMode="auto">
          <a:xfrm>
            <a:off x="7467600" y="1566812"/>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pic>
        <p:nvPicPr>
          <p:cNvPr id="84994" name="Picture 2" descr="Play-to-Earn Is Already the Biggest Star in the Metavers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927" y="2194560"/>
            <a:ext cx="5219859" cy="2935111"/>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1"/>
          <p:cNvSpPr/>
          <p:nvPr/>
        </p:nvSpPr>
        <p:spPr>
          <a:xfrm>
            <a:off x="5607786" y="2190404"/>
            <a:ext cx="3917214" cy="2939267"/>
          </a:xfrm>
          <a:prstGeom prst="rect">
            <a:avLst/>
          </a:prstGeom>
          <a:solidFill>
            <a:srgbClr val="00BAB6">
              <a:lumMod val="75000"/>
            </a:srgbClr>
          </a:solidFill>
          <a:ln w="12700" cap="flat" cmpd="sng" algn="ctr">
            <a:solidFill>
              <a:srgbClr val="00BAB6">
                <a:lumMod val="60000"/>
                <a:lumOff val="40000"/>
              </a:srgbClr>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sz="2000" b="0" kern="0" dirty="0">
              <a:solidFill>
                <a:srgbClr val="FFFFFF"/>
              </a:solidFill>
              <a:latin typeface="IBM Plex Sans" panose="020B0503050000000000" pitchFamily="34" charset="0"/>
              <a:ea typeface="+mn-e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IBM Plex Sans" panose="020B0503050000000000" pitchFamily="34" charset="0"/>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err="1" smtClean="0">
                <a:ln>
                  <a:noFill/>
                </a:ln>
                <a:solidFill>
                  <a:srgbClr val="FFFFFF"/>
                </a:solidFill>
                <a:effectLst/>
                <a:uLnTx/>
                <a:uFillTx/>
                <a:latin typeface="IBM Plex Sans" panose="020B0503050000000000" pitchFamily="34" charset="0"/>
                <a:ea typeface="+mn-ea"/>
                <a:cs typeface="+mn-cs"/>
              </a:rPr>
              <a:t>Metaverse</a:t>
            </a:r>
            <a:r>
              <a:rPr kumimoji="0" lang="en-US" sz="2000" b="0" i="0" u="none" strike="noStrike" kern="0" cap="none" spc="0" normalizeH="0" baseline="0" noProof="0" dirty="0" smtClean="0">
                <a:ln>
                  <a:noFill/>
                </a:ln>
                <a:solidFill>
                  <a:srgbClr val="FFFFFF"/>
                </a:solidFill>
                <a:effectLst/>
                <a:uLnTx/>
                <a:uFillTx/>
                <a:latin typeface="IBM Plex Sans" panose="020B0503050000000000" pitchFamily="34" charset="0"/>
                <a:ea typeface="+mn-ea"/>
                <a:cs typeface="+mn-cs"/>
              </a:rPr>
              <a:t> NFT </a:t>
            </a:r>
            <a:r>
              <a:rPr kumimoji="0" lang="ko-KR" altLang="en-US" sz="2000" b="0" i="0" u="none" strike="noStrike" kern="0" cap="none" spc="0" normalizeH="0" baseline="0" noProof="0" dirty="0" smtClean="0">
                <a:ln>
                  <a:noFill/>
                </a:ln>
                <a:solidFill>
                  <a:srgbClr val="FFFFFF"/>
                </a:solidFill>
                <a:effectLst/>
                <a:uLnTx/>
                <a:uFillTx/>
                <a:latin typeface="IBM Plex Sans" panose="020B0503050000000000" pitchFamily="34" charset="0"/>
                <a:ea typeface="+mn-ea"/>
                <a:cs typeface="+mn-cs"/>
              </a:rPr>
              <a:t>를 함께 생성하고</a:t>
            </a:r>
            <a:r>
              <a:rPr kumimoji="0" lang="en-US" altLang="ko-KR" sz="2000" b="0" i="0" u="none" strike="noStrike" kern="0" cap="none" spc="0" normalizeH="0" baseline="0" noProof="0" dirty="0" smtClean="0">
                <a:ln>
                  <a:noFill/>
                </a:ln>
                <a:solidFill>
                  <a:srgbClr val="FFFFFF"/>
                </a:solidFill>
                <a:effectLst/>
                <a:uLnTx/>
                <a:uFillTx/>
                <a:latin typeface="IBM Plex Sans" panose="020B0503050000000000" pitchFamily="34" charset="0"/>
                <a:ea typeface="+mn-ea"/>
                <a:cs typeface="+mn-cs"/>
              </a:rPr>
              <a:t>, </a:t>
            </a:r>
            <a:r>
              <a:rPr kumimoji="0" lang="ko-KR" altLang="en-US" sz="2000" b="0" i="0" u="none" strike="noStrike" kern="0" cap="none" spc="0" normalizeH="0" baseline="0" noProof="0" dirty="0" smtClean="0">
                <a:ln>
                  <a:noFill/>
                </a:ln>
                <a:solidFill>
                  <a:srgbClr val="FFFFFF"/>
                </a:solidFill>
                <a:effectLst/>
                <a:uLnTx/>
                <a:uFillTx/>
                <a:latin typeface="IBM Plex Sans" panose="020B0503050000000000" pitchFamily="34" charset="0"/>
                <a:ea typeface="+mn-ea"/>
                <a:cs typeface="+mn-cs"/>
              </a:rPr>
              <a:t>함께 구매하고</a:t>
            </a:r>
            <a:r>
              <a:rPr kumimoji="0" lang="en-US" altLang="ko-KR" sz="2000" b="0" i="0" u="none" strike="noStrike" kern="0" cap="none" spc="0" normalizeH="0" baseline="0" noProof="0" dirty="0" smtClean="0">
                <a:ln>
                  <a:noFill/>
                </a:ln>
                <a:solidFill>
                  <a:srgbClr val="FFFFFF"/>
                </a:solidFill>
                <a:effectLst/>
                <a:uLnTx/>
                <a:uFillTx/>
                <a:latin typeface="IBM Plex Sans" panose="020B0503050000000000" pitchFamily="34" charset="0"/>
                <a:ea typeface="+mn-ea"/>
                <a:cs typeface="+mn-cs"/>
              </a:rPr>
              <a:t>, </a:t>
            </a:r>
          </a:p>
          <a:p>
            <a:pPr marL="0" marR="0" lvl="0" indent="0" defTabSz="914400" eaLnBrk="1" fontAlgn="auto" latinLnBrk="0" hangingPunct="1">
              <a:lnSpc>
                <a:spcPct val="100000"/>
              </a:lnSpc>
              <a:spcBef>
                <a:spcPts val="0"/>
              </a:spcBef>
              <a:spcAft>
                <a:spcPts val="0"/>
              </a:spcAft>
              <a:buClrTx/>
              <a:buSzTx/>
              <a:buFontTx/>
              <a:buNone/>
              <a:tabLst/>
              <a:defRPr/>
            </a:pPr>
            <a:r>
              <a:rPr lang="ko-KR" altLang="en-US" sz="2000" b="0" kern="0" dirty="0" smtClean="0">
                <a:solidFill>
                  <a:srgbClr val="FFFFFF"/>
                </a:solidFill>
                <a:latin typeface="IBM Plex Sans" panose="020B0503050000000000" pitchFamily="34" charset="0"/>
                <a:ea typeface="+mn-ea"/>
              </a:rPr>
              <a:t>필요한 사람들에게 빌려주세요</a:t>
            </a:r>
            <a:r>
              <a:rPr lang="en-US" altLang="ko-KR" sz="2000" b="0" kern="0" dirty="0" smtClean="0">
                <a:solidFill>
                  <a:srgbClr val="FFFFFF"/>
                </a:solidFill>
                <a:latin typeface="IBM Plex Sans" panose="020B0503050000000000" pitchFamily="34" charset="0"/>
                <a:ea typeface="+mn-ea"/>
              </a:rPr>
              <a:t>.</a:t>
            </a:r>
            <a:endParaRPr kumimoji="0" lang="en-US" sz="2000" b="0" i="0" u="none" strike="noStrike" kern="0" cap="none" spc="0" normalizeH="0" baseline="0" noProof="0" dirty="0">
              <a:ln>
                <a:noFill/>
              </a:ln>
              <a:solidFill>
                <a:srgbClr val="FFFFFF"/>
              </a:solidFill>
              <a:effectLst/>
              <a:uLnTx/>
              <a:uFillTx/>
              <a:latin typeface="IBM Plex Sans" panose="020B0503050000000000" pitchFamily="34" charset="0"/>
              <a:ea typeface="+mn-ea"/>
              <a:cs typeface="+mn-cs"/>
            </a:endParaRPr>
          </a:p>
        </p:txBody>
      </p:sp>
      <p:sp>
        <p:nvSpPr>
          <p:cNvPr id="22" name="Rectangle 14"/>
          <p:cNvSpPr>
            <a:spLocks noChangeArrowheads="1"/>
          </p:cNvSpPr>
          <p:nvPr/>
        </p:nvSpPr>
        <p:spPr bwMode="auto">
          <a:xfrm>
            <a:off x="5730240" y="4039985"/>
            <a:ext cx="827722" cy="371792"/>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smtClean="0">
                <a:latin typeface="맑은 고딕" pitchFamily="50" charset="-127"/>
              </a:rPr>
              <a:t>버튼</a:t>
            </a:r>
            <a:endParaRPr lang="ko-KR" altLang="en-US" sz="1200" dirty="0">
              <a:latin typeface="맑은 고딕" pitchFamily="50" charset="-127"/>
            </a:endParaRPr>
          </a:p>
        </p:txBody>
      </p:sp>
      <p:sp>
        <p:nvSpPr>
          <p:cNvPr id="23" name="Rectangle 14"/>
          <p:cNvSpPr>
            <a:spLocks noChangeArrowheads="1"/>
          </p:cNvSpPr>
          <p:nvPr/>
        </p:nvSpPr>
        <p:spPr bwMode="auto">
          <a:xfrm>
            <a:off x="6642966" y="4037704"/>
            <a:ext cx="827722" cy="371792"/>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smtClean="0">
                <a:latin typeface="맑은 고딕" pitchFamily="50" charset="-127"/>
              </a:rPr>
              <a:t>버튼</a:t>
            </a:r>
            <a:endParaRPr lang="ko-KR" altLang="en-US" sz="1200" dirty="0">
              <a:latin typeface="맑은 고딕" pitchFamily="50" charset="-127"/>
            </a:endParaRPr>
          </a:p>
        </p:txBody>
      </p:sp>
      <p:sp>
        <p:nvSpPr>
          <p:cNvPr id="24" name="직사각형 23"/>
          <p:cNvSpPr/>
          <p:nvPr/>
        </p:nvSpPr>
        <p:spPr bwMode="gray">
          <a:xfrm>
            <a:off x="390698" y="5249704"/>
            <a:ext cx="9144000" cy="294569"/>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r>
              <a:rPr lang="en-US" altLang="ko-KR" sz="1300" dirty="0" smtClean="0">
                <a:latin typeface="맑은 고딕" panose="020B0503020000020004" pitchFamily="50" charset="-127"/>
              </a:rPr>
              <a:t>Top 5 Ongoing </a:t>
            </a:r>
            <a:r>
              <a:rPr lang="en-US" altLang="ko-KR" sz="1300" dirty="0" err="1" smtClean="0">
                <a:latin typeface="맑은 고딕" panose="020B0503020000020004" pitchFamily="50" charset="-127"/>
              </a:rPr>
              <a:t>GGanbu</a:t>
            </a:r>
            <a:r>
              <a:rPr lang="en-US" altLang="ko-KR" sz="1300" dirty="0" smtClean="0">
                <a:latin typeface="맑은 고딕" panose="020B0503020000020004" pitchFamily="50" charset="-127"/>
              </a:rPr>
              <a:t> suggestion</a:t>
            </a:r>
            <a:endParaRPr lang="en-US" altLang="ko-KR" sz="1300" dirty="0">
              <a:latin typeface="맑은 고딕" panose="020B0503020000020004" pitchFamily="50" charset="-127"/>
            </a:endParaRPr>
          </a:p>
        </p:txBody>
      </p:sp>
      <p:pic>
        <p:nvPicPr>
          <p:cNvPr id="849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5565055"/>
            <a:ext cx="9153698" cy="88146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ectangle 2"/>
          <p:cNvSpPr txBox="1">
            <a:spLocks noChangeArrowheads="1"/>
          </p:cNvSpPr>
          <p:nvPr/>
        </p:nvSpPr>
        <p:spPr bwMode="auto">
          <a:xfrm>
            <a:off x="296863" y="48280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en-US" altLang="ko-KR" sz="1800" b="0" kern="0" dirty="0" err="1" smtClean="0">
                <a:latin typeface="맑은 고딕" panose="020B0503020000020004" pitchFamily="50" charset="-127"/>
              </a:rPr>
              <a:t>Opensea</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와 유사한 디자인</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차이점은 공동구매</a:t>
            </a:r>
            <a:r>
              <a:rPr lang="en-US" altLang="ko-KR" sz="1800" b="0" kern="0" dirty="0" smtClean="0">
                <a:latin typeface="맑은 고딕" panose="020B0503020000020004" pitchFamily="50" charset="-127"/>
              </a:rPr>
              <a:t>(1</a:t>
            </a:r>
            <a:r>
              <a:rPr lang="ko-KR" altLang="en-US" sz="1800" b="0" kern="0" dirty="0" smtClean="0">
                <a:latin typeface="맑은 고딕" panose="020B0503020000020004" pitchFamily="50" charset="-127"/>
              </a:rPr>
              <a:t>단계</a:t>
            </a:r>
            <a:r>
              <a:rPr lang="en-US" altLang="ko-KR" sz="1800" b="0" kern="0" dirty="0" smtClean="0">
                <a:latin typeface="맑은 고딕" panose="020B0503020000020004" pitchFamily="50" charset="-127"/>
              </a:rPr>
              <a:t>) &amp;&amp; DAO, </a:t>
            </a:r>
            <a:r>
              <a:rPr lang="en-US" altLang="ko-KR" sz="1800" b="0" kern="0" dirty="0" err="1" smtClean="0">
                <a:latin typeface="맑은 고딕" panose="020B0503020000020004" pitchFamily="50" charset="-127"/>
              </a:rPr>
              <a:t>NftFi</a:t>
            </a:r>
            <a:r>
              <a:rPr lang="en-US" altLang="ko-KR" sz="1800" b="0" kern="0" dirty="0" smtClean="0">
                <a:latin typeface="맑은 고딕" panose="020B0503020000020004" pitchFamily="50" charset="-127"/>
              </a:rPr>
              <a:t>(2</a:t>
            </a:r>
            <a:r>
              <a:rPr lang="ko-KR" altLang="en-US" sz="1800" b="0" kern="0" dirty="0" smtClean="0">
                <a:latin typeface="맑은 고딕" panose="020B0503020000020004" pitchFamily="50" charset="-127"/>
              </a:rPr>
              <a:t>단계</a:t>
            </a:r>
            <a:r>
              <a:rPr lang="en-US" altLang="ko-KR" sz="1800" b="0" kern="0" dirty="0" smtClean="0">
                <a:latin typeface="맑은 고딕" panose="020B0503020000020004" pitchFamily="50" charset="-127"/>
              </a:rPr>
              <a:t>)</a:t>
            </a:r>
            <a:endParaRPr lang="ko-KR" altLang="en-US" sz="1800" b="0" kern="0" dirty="0">
              <a:latin typeface="맑은 고딕" panose="020B0503020000020004" pitchFamily="50" charset="-127"/>
            </a:endParaRPr>
          </a:p>
        </p:txBody>
      </p:sp>
      <p:sp>
        <p:nvSpPr>
          <p:cNvPr id="27" name="Rectangle 37"/>
          <p:cNvSpPr>
            <a:spLocks noChangeArrowheads="1"/>
          </p:cNvSpPr>
          <p:nvPr/>
        </p:nvSpPr>
        <p:spPr bwMode="auto">
          <a:xfrm>
            <a:off x="4450080" y="1562655"/>
            <a:ext cx="93360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err="1" smtClean="0">
                <a:solidFill>
                  <a:schemeClr val="bg1"/>
                </a:solidFill>
                <a:latin typeface="맑은 고딕" panose="020B0503020000020004" pitchFamily="50" charset="-127"/>
              </a:rPr>
              <a:t>SubDAO</a:t>
            </a:r>
            <a:endParaRPr kumimoji="1" lang="ko-KR" altLang="en-US" kern="0" dirty="0">
              <a:solidFill>
                <a:schemeClr val="bg1"/>
              </a:solidFill>
              <a:latin typeface="맑은 고딕" panose="020B0503020000020004" pitchFamily="50" charset="-127"/>
            </a:endParaRPr>
          </a:p>
        </p:txBody>
      </p:sp>
      <p:sp>
        <p:nvSpPr>
          <p:cNvPr id="28" name="Rectangle 37"/>
          <p:cNvSpPr>
            <a:spLocks noChangeArrowheads="1"/>
          </p:cNvSpPr>
          <p:nvPr/>
        </p:nvSpPr>
        <p:spPr bwMode="auto">
          <a:xfrm>
            <a:off x="3444240" y="1556959"/>
            <a:ext cx="93360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smtClean="0">
                <a:solidFill>
                  <a:schemeClr val="bg1"/>
                </a:solidFill>
                <a:latin typeface="맑은 고딕" panose="020B0503020000020004" pitchFamily="50" charset="-127"/>
              </a:rPr>
              <a:t>스테이</a:t>
            </a:r>
            <a:r>
              <a:rPr kumimoji="1" lang="ko-KR" altLang="en-US" kern="0">
                <a:solidFill>
                  <a:schemeClr val="bg1"/>
                </a:solidFill>
                <a:latin typeface="맑은 고딕" panose="020B0503020000020004" pitchFamily="50" charset="-127"/>
              </a:rPr>
              <a:t>킹</a:t>
            </a:r>
            <a:endParaRPr kumimoji="1" lang="ko-KR" altLang="en-US" kern="0" dirty="0">
              <a:solidFill>
                <a:schemeClr val="bg1"/>
              </a:solidFill>
              <a:latin typeface="맑은 고딕" panose="020B0503020000020004" pitchFamily="50" charset="-127"/>
            </a:endParaRPr>
          </a:p>
        </p:txBody>
      </p:sp>
      <p:sp>
        <p:nvSpPr>
          <p:cNvPr id="29" name="Rectangle 37"/>
          <p:cNvSpPr>
            <a:spLocks noChangeArrowheads="1"/>
          </p:cNvSpPr>
          <p:nvPr/>
        </p:nvSpPr>
        <p:spPr bwMode="auto">
          <a:xfrm>
            <a:off x="2712720" y="1556958"/>
            <a:ext cx="65928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smtClean="0">
                <a:solidFill>
                  <a:schemeClr val="bg1"/>
                </a:solidFill>
                <a:latin typeface="맑은 고딕" panose="020B0503020000020004" pitchFamily="50" charset="-127"/>
              </a:rPr>
              <a:t>대여</a:t>
            </a:r>
            <a:endParaRPr kumimoji="1" lang="ko-KR" altLang="en-US" kern="0" dirty="0">
              <a:solidFill>
                <a:schemeClr val="bg1"/>
              </a:solidFill>
              <a:latin typeface="맑은 고딕" panose="020B0503020000020004" pitchFamily="50" charset="-127"/>
            </a:endParaRPr>
          </a:p>
        </p:txBody>
      </p:sp>
      <p:sp>
        <p:nvSpPr>
          <p:cNvPr id="30" name="Rectangle 37"/>
          <p:cNvSpPr>
            <a:spLocks noChangeArrowheads="1"/>
          </p:cNvSpPr>
          <p:nvPr/>
        </p:nvSpPr>
        <p:spPr bwMode="auto">
          <a:xfrm>
            <a:off x="2026920" y="1556957"/>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smtClean="0">
                <a:solidFill>
                  <a:schemeClr val="bg1"/>
                </a:solidFill>
                <a:latin typeface="맑은 고딕" panose="020B0503020000020004" pitchFamily="50" charset="-127"/>
              </a:rPr>
              <a:t>담보</a:t>
            </a:r>
            <a:endParaRPr kumimoji="1" lang="ko-KR" altLang="en-US" kern="0" dirty="0">
              <a:solidFill>
                <a:schemeClr val="bg1"/>
              </a:solidFill>
              <a:latin typeface="맑은 고딕" panose="020B0503020000020004" pitchFamily="50" charset="-127"/>
            </a:endParaRPr>
          </a:p>
        </p:txBody>
      </p:sp>
      <p:sp>
        <p:nvSpPr>
          <p:cNvPr id="31" name="Rectangle 83"/>
          <p:cNvSpPr>
            <a:spLocks noChangeArrowheads="1"/>
          </p:cNvSpPr>
          <p:nvPr/>
        </p:nvSpPr>
        <p:spPr bwMode="gray">
          <a:xfrm>
            <a:off x="5273040" y="614792"/>
            <a:ext cx="535144" cy="27666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endParaRPr kumimoji="0" lang="ko-KR" altLang="en-US" sz="1400" dirty="0">
              <a:solidFill>
                <a:schemeClr val="bg1"/>
              </a:solidFill>
            </a:endParaRPr>
          </a:p>
        </p:txBody>
      </p:sp>
      <p:sp>
        <p:nvSpPr>
          <p:cNvPr id="32" name="Rectangle 37"/>
          <p:cNvSpPr>
            <a:spLocks noChangeArrowheads="1"/>
          </p:cNvSpPr>
          <p:nvPr/>
        </p:nvSpPr>
        <p:spPr bwMode="auto">
          <a:xfrm>
            <a:off x="6731154" y="614792"/>
            <a:ext cx="376245" cy="284972"/>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endParaRPr kumimoji="1" lang="ko-KR" altLang="en-US" kern="0" dirty="0">
              <a:solidFill>
                <a:schemeClr val="bg1"/>
              </a:solidFill>
              <a:latin typeface="맑은 고딕" panose="020B0503020000020004" pitchFamily="50" charset="-127"/>
            </a:endParaRPr>
          </a:p>
        </p:txBody>
      </p:sp>
      <p:pic>
        <p:nvPicPr>
          <p:cNvPr id="33" name="Picture 1" descr="C:\Users\jihon\Desktop\참고PPT\01\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00" y="1546030"/>
            <a:ext cx="2109787" cy="51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71301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1.3 </a:t>
            </a:r>
            <a:r>
              <a:rPr lang="ko-KR" altLang="en-US" dirty="0" smtClean="0">
                <a:solidFill>
                  <a:schemeClr val="tx2"/>
                </a:solidFill>
                <a:latin typeface="맑은 고딕" pitchFamily="50" charset="-127"/>
              </a:rPr>
              <a:t>메인 화면 예시</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913120" y="1579281"/>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918960" y="158343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656320" y="1575125"/>
            <a:ext cx="80803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err="1" smtClean="0">
                <a:solidFill>
                  <a:schemeClr val="bg1"/>
                </a:solidFill>
              </a:rPr>
              <a:t>내정보</a:t>
            </a:r>
            <a:endParaRPr kumimoji="0" lang="en-US" altLang="ko-KR" sz="1400" dirty="0" smtClean="0">
              <a:solidFill>
                <a:schemeClr val="bg1"/>
              </a:solidFill>
            </a:endParaRPr>
          </a:p>
        </p:txBody>
      </p:sp>
      <p:sp>
        <p:nvSpPr>
          <p:cNvPr id="16" name="Rectangle 37"/>
          <p:cNvSpPr>
            <a:spLocks noChangeArrowheads="1"/>
          </p:cNvSpPr>
          <p:nvPr/>
        </p:nvSpPr>
        <p:spPr bwMode="auto">
          <a:xfrm>
            <a:off x="7924800" y="1575125"/>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pic>
        <p:nvPicPr>
          <p:cNvPr id="8397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0999" y="2148840"/>
            <a:ext cx="9078975" cy="379476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ectangle 2"/>
          <p:cNvSpPr txBox="1">
            <a:spLocks noChangeArrowheads="1"/>
          </p:cNvSpPr>
          <p:nvPr/>
        </p:nvSpPr>
        <p:spPr bwMode="auto">
          <a:xfrm>
            <a:off x="296863" y="48280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스크롤 내렸을 때 예시 </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메인 화면에 무엇을 담을지는 의논 필요</a:t>
            </a:r>
            <a:r>
              <a:rPr lang="en-US" altLang="ko-KR" sz="1800" b="0" kern="0" dirty="0" smtClean="0">
                <a:latin typeface="맑은 고딕" panose="020B0503020000020004" pitchFamily="50" charset="-127"/>
              </a:rPr>
              <a:t>)</a:t>
            </a:r>
          </a:p>
          <a:p>
            <a:pPr>
              <a:defRPr/>
            </a:pPr>
            <a:r>
              <a:rPr lang="ko-KR" altLang="en-US" sz="1800" b="0" kern="0" dirty="0" smtClean="0">
                <a:latin typeface="맑은 고딕" panose="020B0503020000020004" pitchFamily="50" charset="-127"/>
              </a:rPr>
              <a:t>후보군 </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마감 임박 공동명의 구매 건 </a:t>
            </a:r>
            <a:r>
              <a:rPr lang="en-US" altLang="ko-KR" sz="1800" b="0" kern="0" dirty="0" smtClean="0">
                <a:latin typeface="맑은 고딕" panose="020B0503020000020004" pitchFamily="50" charset="-127"/>
              </a:rPr>
              <a:t>Top 5, </a:t>
            </a:r>
            <a:r>
              <a:rPr lang="ko-KR" altLang="en-US" sz="1800" b="0" kern="0" dirty="0" smtClean="0">
                <a:latin typeface="맑은 고딕" panose="020B0503020000020004" pitchFamily="50" charset="-127"/>
              </a:rPr>
              <a:t>최신 제안된 공동명의 구매 건 </a:t>
            </a:r>
            <a:r>
              <a:rPr lang="en-US" altLang="ko-KR" sz="1800" b="0" kern="0" dirty="0" smtClean="0">
                <a:latin typeface="맑은 고딕" panose="020B0503020000020004" pitchFamily="50" charset="-127"/>
              </a:rPr>
              <a:t>Top 5, NFT </a:t>
            </a:r>
            <a:r>
              <a:rPr lang="ko-KR" altLang="en-US" sz="1800" b="0" kern="0" dirty="0" smtClean="0">
                <a:latin typeface="맑은 고딕" panose="020B0503020000020004" pitchFamily="50" charset="-127"/>
              </a:rPr>
              <a:t>보유량 상위 </a:t>
            </a:r>
            <a:r>
              <a:rPr lang="en-US" altLang="ko-KR" sz="1800" b="0" kern="0" dirty="0" smtClean="0">
                <a:latin typeface="맑은 고딕" panose="020B0503020000020004" pitchFamily="50" charset="-127"/>
              </a:rPr>
              <a:t>Top 5 </a:t>
            </a:r>
            <a:r>
              <a:rPr lang="ko-KR" altLang="en-US" sz="1800" b="0" kern="0" dirty="0" smtClean="0">
                <a:latin typeface="맑은 고딕" panose="020B0503020000020004" pitchFamily="50" charset="-127"/>
              </a:rPr>
              <a:t>회원 등</a:t>
            </a:r>
            <a:endParaRPr lang="ko-KR" altLang="en-US" sz="1800" b="0" kern="0" dirty="0">
              <a:latin typeface="맑은 고딕" panose="020B0503020000020004" pitchFamily="50" charset="-127"/>
            </a:endParaRPr>
          </a:p>
        </p:txBody>
      </p:sp>
      <p:sp>
        <p:nvSpPr>
          <p:cNvPr id="19" name="Rectangle 9"/>
          <p:cNvSpPr>
            <a:spLocks noChangeArrowheads="1"/>
          </p:cNvSpPr>
          <p:nvPr/>
        </p:nvSpPr>
        <p:spPr bwMode="auto">
          <a:xfrm>
            <a:off x="472441" y="5257800"/>
            <a:ext cx="1097279" cy="336948"/>
          </a:xfrm>
          <a:prstGeom prst="rect">
            <a:avLst/>
          </a:prstGeom>
          <a:solidFill>
            <a:srgbClr val="000066"/>
          </a:solidFill>
          <a:ln w="25400" algn="ctr">
            <a:solidFill>
              <a:srgbClr val="000066"/>
            </a:solidFill>
            <a:miter lim="800000"/>
            <a:headEnd/>
            <a:tailEnd/>
          </a:ln>
        </p:spPr>
        <p:txBody>
          <a:bodyPr anchor="ctr"/>
          <a:lstStyle/>
          <a:p>
            <a:pPr algn="ctr" eaLnBrk="1" hangingPunct="1">
              <a:buClr>
                <a:schemeClr val="tx1"/>
              </a:buClr>
              <a:tabLst>
                <a:tab pos="914400" algn="l"/>
                <a:tab pos="7315200" algn="r"/>
              </a:tabLst>
            </a:pPr>
            <a:r>
              <a:rPr kumimoji="1" lang="en-US" altLang="ko-KR" dirty="0" smtClean="0">
                <a:solidFill>
                  <a:schemeClr val="bg1"/>
                </a:solidFill>
                <a:latin typeface="맑은 고딕" pitchFamily="50" charset="-127"/>
              </a:rPr>
              <a:t>76% </a:t>
            </a:r>
            <a:r>
              <a:rPr kumimoji="1" lang="ko-KR" altLang="en-US" dirty="0" smtClean="0">
                <a:solidFill>
                  <a:schemeClr val="bg1"/>
                </a:solidFill>
                <a:latin typeface="맑은 고딕" pitchFamily="50" charset="-127"/>
              </a:rPr>
              <a:t>모집</a:t>
            </a:r>
            <a:endParaRPr kumimoji="1" lang="en-US" altLang="ko-KR" dirty="0">
              <a:solidFill>
                <a:schemeClr val="bg1"/>
              </a:solidFill>
              <a:latin typeface="맑은 고딕" pitchFamily="50" charset="-127"/>
            </a:endParaRPr>
          </a:p>
        </p:txBody>
      </p:sp>
      <p:sp>
        <p:nvSpPr>
          <p:cNvPr id="20" name="Rectangle 9"/>
          <p:cNvSpPr>
            <a:spLocks noChangeArrowheads="1"/>
          </p:cNvSpPr>
          <p:nvPr/>
        </p:nvSpPr>
        <p:spPr bwMode="auto">
          <a:xfrm>
            <a:off x="1661161" y="5260853"/>
            <a:ext cx="960120" cy="336948"/>
          </a:xfrm>
          <a:prstGeom prst="rect">
            <a:avLst/>
          </a:prstGeom>
          <a:solidFill>
            <a:srgbClr val="000066"/>
          </a:solidFill>
          <a:ln w="25400" algn="ctr">
            <a:solidFill>
              <a:srgbClr val="000066"/>
            </a:solidFill>
            <a:miter lim="800000"/>
            <a:headEnd/>
            <a:tailEnd/>
          </a:ln>
        </p:spPr>
        <p:txBody>
          <a:bodyPr anchor="ctr"/>
          <a:lstStyle/>
          <a:p>
            <a:pPr algn="ctr" eaLnBrk="1" hangingPunct="1">
              <a:buClr>
                <a:schemeClr val="tx1"/>
              </a:buClr>
              <a:tabLst>
                <a:tab pos="914400" algn="l"/>
                <a:tab pos="7315200" algn="r"/>
              </a:tabLst>
            </a:pPr>
            <a:r>
              <a:rPr kumimoji="1" lang="en-US" altLang="ko-KR" dirty="0" smtClean="0">
                <a:solidFill>
                  <a:schemeClr val="bg1"/>
                </a:solidFill>
                <a:latin typeface="맑은 고딕" pitchFamily="50" charset="-127"/>
              </a:rPr>
              <a:t>0.21 ETH</a:t>
            </a:r>
            <a:endParaRPr kumimoji="1" lang="en-US" altLang="ko-KR" dirty="0">
              <a:solidFill>
                <a:schemeClr val="bg1"/>
              </a:solidFill>
              <a:latin typeface="맑은 고딕" pitchFamily="50" charset="-127"/>
            </a:endParaRPr>
          </a:p>
        </p:txBody>
      </p:sp>
      <p:sp>
        <p:nvSpPr>
          <p:cNvPr id="21" name="Rectangle 9"/>
          <p:cNvSpPr>
            <a:spLocks noChangeArrowheads="1"/>
          </p:cNvSpPr>
          <p:nvPr/>
        </p:nvSpPr>
        <p:spPr bwMode="auto">
          <a:xfrm>
            <a:off x="3581400" y="5257800"/>
            <a:ext cx="1097279" cy="336948"/>
          </a:xfrm>
          <a:prstGeom prst="rect">
            <a:avLst/>
          </a:prstGeom>
          <a:solidFill>
            <a:srgbClr val="000066"/>
          </a:solidFill>
          <a:ln w="25400" algn="ctr">
            <a:solidFill>
              <a:srgbClr val="000066"/>
            </a:solidFill>
            <a:miter lim="800000"/>
            <a:headEnd/>
            <a:tailEnd/>
          </a:ln>
        </p:spPr>
        <p:txBody>
          <a:bodyPr anchor="ctr"/>
          <a:lstStyle/>
          <a:p>
            <a:pPr algn="ctr" eaLnBrk="1" hangingPunct="1">
              <a:buClr>
                <a:schemeClr val="tx1"/>
              </a:buClr>
              <a:tabLst>
                <a:tab pos="914400" algn="l"/>
                <a:tab pos="7315200" algn="r"/>
              </a:tabLst>
            </a:pPr>
            <a:r>
              <a:rPr kumimoji="1" lang="ko-KR" altLang="en-US" dirty="0" smtClean="0">
                <a:solidFill>
                  <a:schemeClr val="bg1"/>
                </a:solidFill>
                <a:latin typeface="맑은 고딕" pitchFamily="50" charset="-127"/>
              </a:rPr>
              <a:t>거의 완료</a:t>
            </a:r>
            <a:r>
              <a:rPr kumimoji="1" lang="en-US" altLang="ko-KR" dirty="0" smtClean="0">
                <a:solidFill>
                  <a:schemeClr val="bg1"/>
                </a:solidFill>
                <a:latin typeface="맑은 고딕" pitchFamily="50" charset="-127"/>
              </a:rPr>
              <a:t>!</a:t>
            </a:r>
            <a:endParaRPr kumimoji="1" lang="en-US" altLang="ko-KR" dirty="0">
              <a:solidFill>
                <a:schemeClr val="bg1"/>
              </a:solidFill>
              <a:latin typeface="맑은 고딕" pitchFamily="50" charset="-127"/>
            </a:endParaRPr>
          </a:p>
        </p:txBody>
      </p:sp>
      <p:sp>
        <p:nvSpPr>
          <p:cNvPr id="22" name="Rectangle 9"/>
          <p:cNvSpPr>
            <a:spLocks noChangeArrowheads="1"/>
          </p:cNvSpPr>
          <p:nvPr/>
        </p:nvSpPr>
        <p:spPr bwMode="auto">
          <a:xfrm>
            <a:off x="4770120" y="5260853"/>
            <a:ext cx="960120" cy="336948"/>
          </a:xfrm>
          <a:prstGeom prst="rect">
            <a:avLst/>
          </a:prstGeom>
          <a:solidFill>
            <a:srgbClr val="000066"/>
          </a:solidFill>
          <a:ln w="25400" algn="ctr">
            <a:solidFill>
              <a:srgbClr val="000066"/>
            </a:solidFill>
            <a:miter lim="800000"/>
            <a:headEnd/>
            <a:tailEnd/>
          </a:ln>
        </p:spPr>
        <p:txBody>
          <a:bodyPr anchor="ctr"/>
          <a:lstStyle/>
          <a:p>
            <a:pPr algn="ctr" eaLnBrk="1" hangingPunct="1">
              <a:buClr>
                <a:schemeClr val="tx1"/>
              </a:buClr>
              <a:tabLst>
                <a:tab pos="914400" algn="l"/>
                <a:tab pos="7315200" algn="r"/>
              </a:tabLst>
            </a:pPr>
            <a:r>
              <a:rPr kumimoji="1" lang="en-US" altLang="ko-KR" dirty="0" smtClean="0">
                <a:solidFill>
                  <a:schemeClr val="bg1"/>
                </a:solidFill>
                <a:latin typeface="맑은 고딕" pitchFamily="50" charset="-127"/>
              </a:rPr>
              <a:t>0.05 ETH</a:t>
            </a:r>
            <a:endParaRPr kumimoji="1" lang="en-US" altLang="ko-KR" dirty="0">
              <a:solidFill>
                <a:schemeClr val="bg1"/>
              </a:solidFill>
              <a:latin typeface="맑은 고딕" pitchFamily="50" charset="-127"/>
            </a:endParaRPr>
          </a:p>
        </p:txBody>
      </p:sp>
      <p:sp>
        <p:nvSpPr>
          <p:cNvPr id="23" name="Rectangle 9"/>
          <p:cNvSpPr>
            <a:spLocks noChangeArrowheads="1"/>
          </p:cNvSpPr>
          <p:nvPr/>
        </p:nvSpPr>
        <p:spPr bwMode="auto">
          <a:xfrm>
            <a:off x="6644640" y="5241726"/>
            <a:ext cx="1097279" cy="336948"/>
          </a:xfrm>
          <a:prstGeom prst="rect">
            <a:avLst/>
          </a:prstGeom>
          <a:solidFill>
            <a:schemeClr val="bg1">
              <a:lumMod val="85000"/>
            </a:schemeClr>
          </a:solidFill>
          <a:ln w="25400" algn="ctr">
            <a:solidFill>
              <a:srgbClr val="000066"/>
            </a:solidFill>
            <a:miter lim="800000"/>
            <a:headEnd/>
            <a:tailEnd/>
          </a:ln>
        </p:spPr>
        <p:txBody>
          <a:bodyPr anchor="ctr"/>
          <a:lstStyle/>
          <a:p>
            <a:pPr algn="ctr" eaLnBrk="1" hangingPunct="1">
              <a:buClr>
                <a:schemeClr val="tx1"/>
              </a:buClr>
              <a:tabLst>
                <a:tab pos="914400" algn="l"/>
                <a:tab pos="7315200" algn="r"/>
              </a:tabLst>
            </a:pPr>
            <a:r>
              <a:rPr kumimoji="1" lang="en-US" altLang="ko-KR" dirty="0" smtClean="0">
                <a:solidFill>
                  <a:schemeClr val="tx1"/>
                </a:solidFill>
                <a:latin typeface="맑은 고딕" pitchFamily="50" charset="-127"/>
              </a:rPr>
              <a:t>20%</a:t>
            </a:r>
            <a:endParaRPr kumimoji="1" lang="en-US" altLang="ko-KR" dirty="0">
              <a:solidFill>
                <a:schemeClr val="tx1"/>
              </a:solidFill>
              <a:latin typeface="맑은 고딕" pitchFamily="50" charset="-127"/>
            </a:endParaRPr>
          </a:p>
        </p:txBody>
      </p:sp>
      <p:sp>
        <p:nvSpPr>
          <p:cNvPr id="25" name="Rectangle 9"/>
          <p:cNvSpPr>
            <a:spLocks noChangeArrowheads="1"/>
          </p:cNvSpPr>
          <p:nvPr/>
        </p:nvSpPr>
        <p:spPr bwMode="auto">
          <a:xfrm>
            <a:off x="7833995" y="5242842"/>
            <a:ext cx="913765" cy="336948"/>
          </a:xfrm>
          <a:prstGeom prst="rect">
            <a:avLst/>
          </a:prstGeom>
          <a:solidFill>
            <a:schemeClr val="bg1">
              <a:lumMod val="85000"/>
            </a:schemeClr>
          </a:solidFill>
          <a:ln w="25400" algn="ctr">
            <a:solidFill>
              <a:srgbClr val="000066"/>
            </a:solidFill>
            <a:miter lim="800000"/>
            <a:headEnd/>
            <a:tailEnd/>
          </a:ln>
        </p:spPr>
        <p:txBody>
          <a:bodyPr anchor="ctr"/>
          <a:lstStyle/>
          <a:p>
            <a:pPr algn="ctr" eaLnBrk="1" hangingPunct="1">
              <a:buClr>
                <a:schemeClr val="tx1"/>
              </a:buClr>
              <a:tabLst>
                <a:tab pos="914400" algn="l"/>
                <a:tab pos="7315200" algn="r"/>
              </a:tabLst>
            </a:pPr>
            <a:r>
              <a:rPr kumimoji="1" lang="en-US" altLang="ko-KR" dirty="0" smtClean="0">
                <a:solidFill>
                  <a:schemeClr val="tx1"/>
                </a:solidFill>
                <a:latin typeface="맑은 고딕" pitchFamily="50" charset="-127"/>
              </a:rPr>
              <a:t>0.6 ETH</a:t>
            </a:r>
            <a:endParaRPr kumimoji="1" lang="en-US" altLang="ko-KR" dirty="0">
              <a:solidFill>
                <a:schemeClr val="tx1"/>
              </a:solidFill>
              <a:latin typeface="맑은 고딕" pitchFamily="50" charset="-127"/>
            </a:endParaRPr>
          </a:p>
        </p:txBody>
      </p:sp>
      <p:pic>
        <p:nvPicPr>
          <p:cNvPr id="26" name="Picture 1" descr="C:\Users\jihon\Desktop\참고PPT\01\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554480"/>
            <a:ext cx="2109787" cy="51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698719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ko-KR" altLang="en-US" dirty="0" smtClean="0">
                <a:solidFill>
                  <a:schemeClr val="tx2"/>
                </a:solidFill>
                <a:latin typeface="맑은 고딕" pitchFamily="50" charset="-127"/>
              </a:rPr>
              <a:t>토</a:t>
            </a:r>
            <a:r>
              <a:rPr lang="ko-KR" altLang="en-US" dirty="0">
                <a:solidFill>
                  <a:schemeClr val="tx2"/>
                </a:solidFill>
                <a:latin typeface="맑은 고딕" pitchFamily="50" charset="-127"/>
              </a:rPr>
              <a:t>론</a:t>
            </a:r>
            <a:r>
              <a:rPr lang="ko-KR" altLang="en-US" dirty="0" smtClean="0">
                <a:solidFill>
                  <a:schemeClr val="tx2"/>
                </a:solidFill>
                <a:latin typeface="맑은 고딕" pitchFamily="50" charset="-127"/>
              </a:rPr>
              <a:t>할 사항</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455920" y="157096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461760" y="1575125"/>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153400" y="1575125"/>
            <a:ext cx="131095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지갑</a:t>
            </a:r>
            <a:r>
              <a:rPr kumimoji="0" lang="en-US" altLang="ko-KR" sz="1400" dirty="0" smtClean="0">
                <a:solidFill>
                  <a:schemeClr val="bg1"/>
                </a:solidFill>
              </a:rPr>
              <a:t>(</a:t>
            </a:r>
            <a:r>
              <a:rPr kumimoji="0" lang="ko-KR" altLang="en-US" sz="1400" dirty="0" err="1" smtClean="0">
                <a:solidFill>
                  <a:schemeClr val="bg1"/>
                </a:solidFill>
              </a:rPr>
              <a:t>내정보</a:t>
            </a:r>
            <a:r>
              <a:rPr kumimoji="0" lang="en-US" altLang="ko-KR" sz="1400" dirty="0" smtClean="0">
                <a:solidFill>
                  <a:schemeClr val="bg1"/>
                </a:solidFill>
              </a:rPr>
              <a:t>)</a:t>
            </a:r>
          </a:p>
        </p:txBody>
      </p:sp>
      <p:sp>
        <p:nvSpPr>
          <p:cNvPr id="16" name="Rectangle 37"/>
          <p:cNvSpPr>
            <a:spLocks noChangeArrowheads="1"/>
          </p:cNvSpPr>
          <p:nvPr/>
        </p:nvSpPr>
        <p:spPr bwMode="auto">
          <a:xfrm>
            <a:off x="7467600" y="1566812"/>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sp>
        <p:nvSpPr>
          <p:cNvPr id="10" name="Rectangle 2"/>
          <p:cNvSpPr txBox="1">
            <a:spLocks noChangeArrowheads="1"/>
          </p:cNvSpPr>
          <p:nvPr/>
        </p:nvSpPr>
        <p:spPr bwMode="auto">
          <a:xfrm>
            <a:off x="449262" y="2194560"/>
            <a:ext cx="9312275" cy="4114800"/>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근본적인 고민</a:t>
            </a:r>
            <a:r>
              <a:rPr lang="en-US" altLang="ko-KR" sz="1800" b="0" kern="0" dirty="0" smtClean="0">
                <a:latin typeface="맑은 고딕" panose="020B0503020000020004" pitchFamily="50" charset="-127"/>
              </a:rPr>
              <a:t>]</a:t>
            </a:r>
          </a:p>
          <a:p>
            <a:pPr marL="285750" indent="-285750">
              <a:buFontTx/>
              <a:buChar char="-"/>
              <a:defRPr/>
            </a:pPr>
            <a:r>
              <a:rPr lang="ko-KR" altLang="en-US" sz="1800" b="0" kern="0" dirty="0" smtClean="0">
                <a:latin typeface="맑은 고딕" panose="020B0503020000020004" pitchFamily="50" charset="-127"/>
              </a:rPr>
              <a:t>예를 </a:t>
            </a:r>
            <a:r>
              <a:rPr lang="ko-KR" altLang="en-US" sz="1800" b="0" kern="0" dirty="0">
                <a:latin typeface="맑은 고딕" panose="020B0503020000020004" pitchFamily="50" charset="-127"/>
              </a:rPr>
              <a:t>들어 </a:t>
            </a:r>
            <a:r>
              <a:rPr lang="ko-KR" altLang="en-US" sz="1800" b="0" kern="0" dirty="0" err="1">
                <a:latin typeface="맑은 고딕" panose="020B0503020000020004" pitchFamily="50" charset="-127"/>
              </a:rPr>
              <a:t>샌드박스</a:t>
            </a:r>
            <a:r>
              <a:rPr lang="ko-KR" altLang="en-US" sz="1800" b="0" kern="0" dirty="0">
                <a:latin typeface="맑은 고딕" panose="020B0503020000020004" pitchFamily="50" charset="-127"/>
              </a:rPr>
              <a:t> </a:t>
            </a:r>
            <a:r>
              <a:rPr lang="en-US" altLang="ko-KR" sz="1800" b="0" kern="0" dirty="0">
                <a:latin typeface="맑은 고딕" panose="020B0503020000020004" pitchFamily="50" charset="-127"/>
              </a:rPr>
              <a:t>NFT (</a:t>
            </a:r>
            <a:r>
              <a:rPr lang="ko-KR" altLang="en-US" sz="1800" b="0" kern="0" dirty="0">
                <a:latin typeface="맑은 고딕" panose="020B0503020000020004" pitchFamily="50" charset="-127"/>
              </a:rPr>
              <a:t>고객</a:t>
            </a:r>
            <a:r>
              <a:rPr lang="en-US" altLang="ko-KR" sz="1800" b="0" kern="0" dirty="0">
                <a:latin typeface="맑은 고딕" panose="020B0503020000020004" pitchFamily="50" charset="-127"/>
              </a:rPr>
              <a:t>) </a:t>
            </a:r>
            <a:r>
              <a:rPr lang="ko-KR" altLang="en-US" sz="1800" b="0" kern="0" dirty="0">
                <a:latin typeface="맑은 고딕" panose="020B0503020000020004" pitchFamily="50" charset="-127"/>
              </a:rPr>
              <a:t>를 우리 </a:t>
            </a:r>
            <a:r>
              <a:rPr lang="ko-KR" altLang="en-US" sz="1800" b="0" kern="0" dirty="0" err="1">
                <a:latin typeface="맑은 고딕" panose="020B0503020000020004" pitchFamily="50" charset="-127"/>
              </a:rPr>
              <a:t>앱에서</a:t>
            </a:r>
            <a:r>
              <a:rPr lang="ko-KR" altLang="en-US" sz="1800" b="0" kern="0" dirty="0">
                <a:latin typeface="맑은 고딕" panose="020B0503020000020004" pitchFamily="50" charset="-127"/>
              </a:rPr>
              <a:t> 유통시키고 싶다면</a:t>
            </a:r>
            <a:r>
              <a:rPr lang="en-US" altLang="ko-KR" sz="1800" b="0" kern="0" dirty="0">
                <a:latin typeface="맑은 고딕" panose="020B0503020000020004" pitchFamily="50" charset="-127"/>
              </a:rPr>
              <a:t>, </a:t>
            </a:r>
            <a:r>
              <a:rPr lang="ko-KR" altLang="en-US" sz="1800" b="0" kern="0" dirty="0" err="1">
                <a:latin typeface="맑은 고딕" panose="020B0503020000020004" pitchFamily="50" charset="-127"/>
              </a:rPr>
              <a:t>샌드박스와</a:t>
            </a:r>
            <a:r>
              <a:rPr lang="ko-KR" altLang="en-US" sz="1800" b="0" kern="0" dirty="0">
                <a:latin typeface="맑은 고딕" panose="020B0503020000020004" pitchFamily="50" charset="-127"/>
              </a:rPr>
              <a:t> 협업해야 하는 것이 아닌가</a:t>
            </a:r>
            <a:r>
              <a:rPr lang="en-US" altLang="ko-KR" sz="1800" b="0" kern="0" dirty="0">
                <a:latin typeface="맑은 고딕" panose="020B0503020000020004" pitchFamily="50" charset="-127"/>
              </a:rPr>
              <a:t>?</a:t>
            </a:r>
          </a:p>
          <a:p>
            <a:pPr marL="285750" indent="-285750">
              <a:buFontTx/>
              <a:buChar char="-"/>
              <a:defRPr/>
            </a:pPr>
            <a:r>
              <a:rPr lang="ko-KR" altLang="en-US" sz="1800" b="0" kern="0" dirty="0">
                <a:latin typeface="맑은 고딕" panose="020B0503020000020004" pitchFamily="50" charset="-127"/>
              </a:rPr>
              <a:t>타 플랫폼의 </a:t>
            </a:r>
            <a:r>
              <a:rPr lang="en-US" altLang="ko-KR" sz="1800" b="0" kern="0" dirty="0">
                <a:latin typeface="맑은 고딕" panose="020B0503020000020004" pitchFamily="50" charset="-127"/>
              </a:rPr>
              <a:t>ERC721 </a:t>
            </a:r>
            <a:r>
              <a:rPr lang="ko-KR" altLang="en-US" sz="1800" b="0" kern="0" dirty="0">
                <a:latin typeface="맑은 고딕" panose="020B0503020000020004" pitchFamily="50" charset="-127"/>
              </a:rPr>
              <a:t>를 우리 </a:t>
            </a:r>
            <a:r>
              <a:rPr lang="ko-KR" altLang="en-US" sz="1800" b="0" kern="0" dirty="0" err="1">
                <a:latin typeface="맑은 고딕" panose="020B0503020000020004" pitchFamily="50" charset="-127"/>
              </a:rPr>
              <a:t>앱에서</a:t>
            </a:r>
            <a:r>
              <a:rPr lang="ko-KR" altLang="en-US" sz="1800" b="0" kern="0" dirty="0">
                <a:latin typeface="맑은 고딕" panose="020B0503020000020004" pitchFamily="50" charset="-127"/>
              </a:rPr>
              <a:t> 어떻게 구매할 수 있나</a:t>
            </a:r>
            <a:r>
              <a:rPr lang="en-US" altLang="ko-KR" sz="1800" b="0" kern="0" dirty="0">
                <a:latin typeface="맑은 고딕" panose="020B0503020000020004" pitchFamily="50" charset="-127"/>
              </a:rPr>
              <a:t>?</a:t>
            </a:r>
          </a:p>
          <a:p>
            <a:pPr marL="285750" indent="-285750">
              <a:buFontTx/>
              <a:buChar char="-"/>
              <a:defRPr/>
            </a:pPr>
            <a:r>
              <a:rPr lang="ko-KR" altLang="en-US" sz="1800" b="0" kern="0" dirty="0">
                <a:latin typeface="맑은 고딕" panose="020B0503020000020004" pitchFamily="50" charset="-127"/>
              </a:rPr>
              <a:t>구매 금액</a:t>
            </a:r>
            <a:r>
              <a:rPr lang="en-US" altLang="ko-KR" sz="1800" b="0" kern="0" dirty="0">
                <a:latin typeface="맑은 고딕" panose="020B0503020000020004" pitchFamily="50" charset="-127"/>
              </a:rPr>
              <a:t>(price) </a:t>
            </a:r>
            <a:r>
              <a:rPr lang="ko-KR" altLang="en-US" sz="1800" b="0" kern="0" dirty="0">
                <a:latin typeface="맑은 고딕" panose="020B0503020000020004" pitchFamily="50" charset="-127"/>
              </a:rPr>
              <a:t>은 </a:t>
            </a:r>
            <a:r>
              <a:rPr lang="en-US" altLang="ko-KR" sz="1800" b="0" kern="0" dirty="0">
                <a:latin typeface="맑은 고딕" panose="020B0503020000020004" pitchFamily="50" charset="-127"/>
              </a:rPr>
              <a:t>NFT</a:t>
            </a:r>
            <a:r>
              <a:rPr lang="ko-KR" altLang="en-US" sz="1800" b="0" kern="0" dirty="0">
                <a:latin typeface="맑은 고딕" panose="020B0503020000020004" pitchFamily="50" charset="-127"/>
              </a:rPr>
              <a:t>소유자가 우리 </a:t>
            </a:r>
            <a:r>
              <a:rPr lang="ko-KR" altLang="en-US" sz="1800" b="0" kern="0" dirty="0" err="1">
                <a:latin typeface="맑은 고딕" panose="020B0503020000020004" pitchFamily="50" charset="-127"/>
              </a:rPr>
              <a:t>앱에</a:t>
            </a:r>
            <a:r>
              <a:rPr lang="ko-KR" altLang="en-US" sz="1800" b="0" kern="0" dirty="0">
                <a:latin typeface="맑은 고딕" panose="020B0503020000020004" pitchFamily="50" charset="-127"/>
              </a:rPr>
              <a:t> 접속해서 설정해야 하는 것이 아닌가</a:t>
            </a:r>
            <a:r>
              <a:rPr lang="en-US" altLang="ko-KR" sz="1800" b="0" kern="0" dirty="0">
                <a:latin typeface="맑은 고딕" panose="020B0503020000020004" pitchFamily="50" charset="-127"/>
              </a:rPr>
              <a:t>?</a:t>
            </a:r>
          </a:p>
          <a:p>
            <a:pPr>
              <a:defRPr/>
            </a:pPr>
            <a:endParaRPr lang="en-US" altLang="ko-KR" sz="1800" b="0" kern="0" dirty="0" smtClean="0">
              <a:latin typeface="맑은 고딕" panose="020B0503020000020004" pitchFamily="50" charset="-127"/>
            </a:endParaRPr>
          </a:p>
          <a:p>
            <a:pPr>
              <a:defRPr/>
            </a:pP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방</a:t>
            </a:r>
            <a:r>
              <a:rPr lang="ko-KR" altLang="en-US" sz="1800" b="0" kern="0" dirty="0">
                <a:latin typeface="맑은 고딕" panose="020B0503020000020004" pitchFamily="50" charset="-127"/>
              </a:rPr>
              <a:t>안</a:t>
            </a:r>
            <a:r>
              <a:rPr lang="en-US" altLang="ko-KR" sz="1800" b="0" kern="0" dirty="0" smtClean="0">
                <a:latin typeface="맑은 고딕" panose="020B0503020000020004" pitchFamily="50" charset="-127"/>
              </a:rPr>
              <a:t>]</a:t>
            </a:r>
          </a:p>
          <a:p>
            <a:pPr>
              <a:defRPr/>
            </a:pPr>
            <a:r>
              <a:rPr lang="ko-KR" altLang="en-US" sz="1800" b="0" kern="0" dirty="0" smtClean="0">
                <a:latin typeface="맑은 고딕" panose="020B0503020000020004" pitchFamily="50" charset="-127"/>
              </a:rPr>
              <a:t>구매 </a:t>
            </a:r>
            <a:r>
              <a:rPr lang="ko-KR" altLang="en-US" sz="1800" b="0" kern="0" dirty="0" err="1" smtClean="0">
                <a:latin typeface="맑은 고딕" panose="020B0503020000020004" pitchFamily="50" charset="-127"/>
              </a:rPr>
              <a:t>타겟</a:t>
            </a:r>
            <a:r>
              <a:rPr lang="ko-KR" altLang="en-US" sz="1800" b="0" kern="0" dirty="0" smtClean="0">
                <a:latin typeface="맑은 고딕" panose="020B0503020000020004" pitchFamily="50" charset="-127"/>
              </a:rPr>
              <a:t> 데이터 </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메타버스 </a:t>
            </a: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를 임의로 가공한다면</a:t>
            </a:r>
            <a:endParaRPr lang="en-US" altLang="ko-KR" sz="1800" b="0" kern="0" dirty="0" smtClean="0">
              <a:latin typeface="맑은 고딕" panose="020B0503020000020004" pitchFamily="50" charset="-127"/>
            </a:endParaRPr>
          </a:p>
          <a:p>
            <a:pPr>
              <a:defRPr/>
            </a:pPr>
            <a:r>
              <a:rPr lang="en-US" altLang="ko-KR" sz="1800" b="0" kern="0" dirty="0" smtClean="0">
                <a:latin typeface="맑은 고딕" panose="020B0503020000020004" pitchFamily="50" charset="-127"/>
              </a:rPr>
              <a:t>- </a:t>
            </a:r>
            <a:r>
              <a:rPr lang="ko-KR" altLang="en-US" sz="1800" b="0" kern="0" dirty="0">
                <a:latin typeface="맑은 고딕" panose="020B0503020000020004" pitchFamily="50" charset="-127"/>
              </a:rPr>
              <a:t> </a:t>
            </a:r>
            <a:r>
              <a:rPr lang="ko-KR" altLang="en-US" sz="1800" b="0" kern="0" dirty="0" smtClean="0">
                <a:latin typeface="맑은 고딕" panose="020B0503020000020004" pitchFamily="50" charset="-127"/>
              </a:rPr>
              <a:t>타 플랫폼</a:t>
            </a:r>
            <a:r>
              <a:rPr lang="en-US" altLang="ko-KR" sz="1800" b="0" kern="0" dirty="0" smtClean="0">
                <a:latin typeface="맑은 고딕" panose="020B0503020000020004" pitchFamily="50" charset="-127"/>
              </a:rPr>
              <a:t>(</a:t>
            </a:r>
            <a:r>
              <a:rPr lang="ko-KR" altLang="en-US" sz="1800" b="0" kern="0" dirty="0" err="1" smtClean="0">
                <a:latin typeface="맑은 고딕" panose="020B0503020000020004" pitchFamily="50" charset="-127"/>
              </a:rPr>
              <a:t>샌박</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마</a:t>
            </a:r>
            <a:r>
              <a:rPr lang="ko-KR" altLang="en-US" sz="1800" b="0" kern="0" dirty="0">
                <a:latin typeface="맑은 고딕" panose="020B0503020000020004" pitchFamily="50" charset="-127"/>
              </a:rPr>
              <a:t>나</a:t>
            </a:r>
            <a:r>
              <a:rPr lang="ko-KR" altLang="en-US" sz="1800" b="0" kern="0" dirty="0" smtClean="0">
                <a:latin typeface="맑은 고딕" panose="020B0503020000020004" pitchFamily="50" charset="-127"/>
              </a:rPr>
              <a:t> 등</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의 임의 데이터를 </a:t>
            </a:r>
            <a:r>
              <a:rPr lang="ko-KR" altLang="en-US" sz="1800" b="0" kern="0" dirty="0" err="1" smtClean="0">
                <a:latin typeface="맑은 고딕" panose="020B0503020000020004" pitchFamily="50" charset="-127"/>
              </a:rPr>
              <a:t>테스트넷에서</a:t>
            </a:r>
            <a:r>
              <a:rPr lang="ko-KR" altLang="en-US" sz="1800" b="0" kern="0" dirty="0" smtClean="0">
                <a:latin typeface="맑은 고딕" panose="020B0503020000020004" pitchFamily="50" charset="-127"/>
              </a:rPr>
              <a:t> 가져올 수 있는지 여부</a:t>
            </a:r>
            <a:endParaRPr lang="en-US" altLang="ko-KR" sz="1800" b="0" kern="0" dirty="0" smtClean="0">
              <a:latin typeface="맑은 고딕" panose="020B0503020000020004" pitchFamily="50" charset="-127"/>
            </a:endParaRPr>
          </a:p>
          <a:p>
            <a:pPr marL="285750" indent="-285750">
              <a:buFontTx/>
              <a:buChar char="-"/>
              <a:defRPr/>
            </a:pPr>
            <a:r>
              <a:rPr lang="en-US" altLang="ko-KR" sz="1800" b="0" kern="0" dirty="0" err="1" smtClean="0">
                <a:latin typeface="맑은 고딕" panose="020B0503020000020004" pitchFamily="50" charset="-127"/>
              </a:rPr>
              <a:t>Opensea</a:t>
            </a:r>
            <a:r>
              <a:rPr lang="en-US" altLang="ko-KR" sz="1800" b="0" kern="0" dirty="0" smtClean="0">
                <a:latin typeface="맑은 고딕" panose="020B0503020000020004" pitchFamily="50" charset="-127"/>
              </a:rPr>
              <a:t> API </a:t>
            </a:r>
            <a:r>
              <a:rPr lang="ko-KR" altLang="en-US" sz="1800" b="0" kern="0" dirty="0" smtClean="0">
                <a:latin typeface="맑은 고딕" panose="020B0503020000020004" pitchFamily="50" charset="-127"/>
              </a:rPr>
              <a:t>로는 </a:t>
            </a:r>
            <a:r>
              <a:rPr lang="ko-KR" altLang="en-US" sz="1800" b="0" kern="0" dirty="0" err="1" smtClean="0">
                <a:latin typeface="맑은 고딕" panose="020B0503020000020004" pitchFamily="50" charset="-127"/>
              </a:rPr>
              <a:t>메인넷</a:t>
            </a:r>
            <a:r>
              <a:rPr lang="ko-KR" altLang="en-US" sz="1800" b="0" kern="0" dirty="0" smtClean="0">
                <a:latin typeface="맑은 고딕" panose="020B0503020000020004" pitchFamily="50" charset="-127"/>
              </a:rPr>
              <a:t> 이미지 </a:t>
            </a:r>
            <a:r>
              <a:rPr lang="en-US" altLang="ko-KR" sz="1800" b="0" kern="0" dirty="0" smtClean="0">
                <a:latin typeface="맑은 고딕" panose="020B0503020000020004" pitchFamily="50" charset="-127"/>
              </a:rPr>
              <a:t>URI </a:t>
            </a:r>
            <a:r>
              <a:rPr lang="ko-KR" altLang="en-US" sz="1800" b="0" kern="0" dirty="0" smtClean="0">
                <a:latin typeface="맑은 고딕" panose="020B0503020000020004" pitchFamily="50" charset="-127"/>
              </a:rPr>
              <a:t>정보를 가져올 수 있는 것으로 보임</a:t>
            </a:r>
            <a:endParaRPr lang="en-US" altLang="ko-KR" sz="1800" b="0" kern="0" dirty="0" smtClean="0">
              <a:latin typeface="맑은 고딕" panose="020B0503020000020004" pitchFamily="50" charset="-127"/>
            </a:endParaRPr>
          </a:p>
          <a:p>
            <a:pPr marL="285750" indent="-285750">
              <a:buFontTx/>
              <a:buChar char="-"/>
              <a:defRPr/>
            </a:pPr>
            <a:r>
              <a:rPr lang="ko-KR" altLang="en-US" sz="1800" b="0" kern="0" dirty="0" smtClean="0">
                <a:latin typeface="맑은 고딕" panose="020B0503020000020004" pitchFamily="50" charset="-127"/>
              </a:rPr>
              <a:t>그 정보를 바탕으로 </a:t>
            </a:r>
            <a:r>
              <a:rPr lang="en-US" altLang="ko-KR" sz="1800" b="0" kern="0" dirty="0" smtClean="0">
                <a:latin typeface="맑은 고딕" panose="020B0503020000020004" pitchFamily="50" charset="-127"/>
              </a:rPr>
              <a:t>Price </a:t>
            </a:r>
            <a:r>
              <a:rPr lang="ko-KR" altLang="en-US" sz="1800" b="0" kern="0" dirty="0" smtClean="0">
                <a:latin typeface="맑은 고딕" panose="020B0503020000020004" pitchFamily="50" charset="-127"/>
              </a:rPr>
              <a:t>및 소유자 등은 임의로 가공</a:t>
            </a:r>
            <a:r>
              <a:rPr lang="en-US" altLang="ko-KR" sz="1800" b="0" kern="0" dirty="0" smtClean="0">
                <a:latin typeface="맑은 고딕" panose="020B0503020000020004" pitchFamily="50" charset="-127"/>
              </a:rPr>
              <a:t>?</a:t>
            </a:r>
          </a:p>
          <a:p>
            <a:pPr marL="285750" indent="-285750">
              <a:buFontTx/>
              <a:buChar char="-"/>
              <a:defRPr/>
            </a:pPr>
            <a:endParaRPr lang="en-US" altLang="ko-KR" sz="1800" b="0" kern="0" dirty="0">
              <a:latin typeface="맑은 고딕" panose="020B0503020000020004" pitchFamily="50" charset="-127"/>
            </a:endParaRPr>
          </a:p>
          <a:p>
            <a:pPr>
              <a:defRPr/>
            </a:pP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대안</a:t>
            </a:r>
            <a:r>
              <a:rPr lang="en-US" altLang="ko-KR" sz="1800" b="0" kern="0" dirty="0" smtClean="0">
                <a:latin typeface="맑은 고딕" panose="020B0503020000020004" pitchFamily="50" charset="-127"/>
              </a:rPr>
              <a:t>]</a:t>
            </a:r>
            <a:endParaRPr lang="en-US" altLang="ko-KR" sz="1800" b="0" kern="0" dirty="0">
              <a:latin typeface="맑은 고딕" panose="020B0503020000020004" pitchFamily="50" charset="-127"/>
            </a:endParaRPr>
          </a:p>
          <a:p>
            <a:pPr>
              <a:defRPr/>
            </a:pPr>
            <a:r>
              <a:rPr lang="en-US" altLang="ko-KR" sz="1800" b="0" kern="0" dirty="0" smtClean="0">
                <a:latin typeface="맑은 고딕" panose="020B0503020000020004" pitchFamily="50" charset="-127"/>
              </a:rPr>
              <a:t>- </a:t>
            </a:r>
            <a:r>
              <a:rPr lang="ko-KR" altLang="en-US" sz="1800" b="0" kern="0" dirty="0" err="1" smtClean="0">
                <a:latin typeface="맑은 고딕" panose="020B0503020000020004" pitchFamily="50" charset="-127"/>
              </a:rPr>
              <a:t>앱</a:t>
            </a:r>
            <a:r>
              <a:rPr lang="ko-KR" altLang="en-US" sz="1800" b="0" kern="0" dirty="0" smtClean="0">
                <a:latin typeface="맑은 고딕" panose="020B0503020000020004" pitchFamily="50" charset="-127"/>
              </a:rPr>
              <a:t> 내에서 </a:t>
            </a: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를 직접 </a:t>
            </a:r>
            <a:r>
              <a:rPr lang="ko-KR" altLang="en-US" sz="1800" b="0" kern="0" dirty="0" err="1" smtClean="0">
                <a:latin typeface="맑은 고딕" panose="020B0503020000020004" pitchFamily="50" charset="-127"/>
              </a:rPr>
              <a:t>민팅하고</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그 </a:t>
            </a:r>
            <a:r>
              <a:rPr lang="en-US" altLang="ko-KR" sz="1800" b="0" kern="0" dirty="0" smtClean="0">
                <a:latin typeface="맑은 고딕" panose="020B0503020000020004" pitchFamily="50" charset="-127"/>
              </a:rPr>
              <a:t>NFT </a:t>
            </a:r>
            <a:r>
              <a:rPr lang="ko-KR" altLang="en-US" sz="1800" b="0" kern="0" dirty="0">
                <a:latin typeface="맑은 고딕" panose="020B0503020000020004" pitchFamily="50" charset="-127"/>
              </a:rPr>
              <a:t>를</a:t>
            </a:r>
            <a:r>
              <a:rPr lang="ko-KR" altLang="en-US" sz="1800" b="0" kern="0" dirty="0" smtClean="0">
                <a:latin typeface="맑은 고딕" panose="020B0503020000020004" pitchFamily="50" charset="-127"/>
              </a:rPr>
              <a:t> 공동구매 </a:t>
            </a:r>
            <a:r>
              <a:rPr lang="ko-KR" altLang="en-US" sz="1800" b="0" kern="0" dirty="0" err="1" smtClean="0">
                <a:latin typeface="맑은 고딕" panose="020B0503020000020004" pitchFamily="50" charset="-127"/>
              </a:rPr>
              <a:t>타겟으로</a:t>
            </a:r>
            <a:r>
              <a:rPr lang="ko-KR" altLang="en-US" sz="1800" b="0" kern="0" dirty="0" smtClean="0">
                <a:latin typeface="맑은 고딕" panose="020B0503020000020004" pitchFamily="50" charset="-127"/>
              </a:rPr>
              <a:t> 하는 그림</a:t>
            </a:r>
            <a:r>
              <a:rPr lang="en-US" altLang="ko-KR" sz="1800" b="0" kern="0" dirty="0" smtClean="0">
                <a:latin typeface="맑은 고딕" panose="020B0503020000020004" pitchFamily="50" charset="-127"/>
              </a:rPr>
              <a:t>?</a:t>
            </a:r>
          </a:p>
        </p:txBody>
      </p:sp>
      <p:sp>
        <p:nvSpPr>
          <p:cNvPr id="11" name="Rectangle 2"/>
          <p:cNvSpPr txBox="1">
            <a:spLocks noChangeArrowheads="1"/>
          </p:cNvSpPr>
          <p:nvPr/>
        </p:nvSpPr>
        <p:spPr bwMode="auto">
          <a:xfrm>
            <a:off x="296863" y="45232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토론할 사항 </a:t>
            </a:r>
            <a:r>
              <a:rPr lang="en-US" altLang="ko-KR" sz="1800" b="0" kern="0" dirty="0" smtClean="0">
                <a:latin typeface="맑은 고딕" panose="020B0503020000020004" pitchFamily="50" charset="-127"/>
              </a:rPr>
              <a:t>: NFT </a:t>
            </a:r>
            <a:r>
              <a:rPr lang="ko-KR" altLang="en-US" sz="1800" b="0" kern="0" dirty="0" smtClean="0">
                <a:latin typeface="맑은 고딕" panose="020B0503020000020004" pitchFamily="50" charset="-127"/>
              </a:rPr>
              <a:t>데이터 가공</a:t>
            </a:r>
            <a:endParaRPr lang="ko-KR" altLang="en-US" sz="1800" b="0" kern="0" dirty="0">
              <a:latin typeface="맑은 고딕" panose="020B0503020000020004" pitchFamily="50" charset="-127"/>
            </a:endParaRPr>
          </a:p>
        </p:txBody>
      </p:sp>
      <p:pic>
        <p:nvPicPr>
          <p:cNvPr id="15" name="Picture 1" descr="C:\Users\jihon\Desktop\참고PPT\01\0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546030"/>
            <a:ext cx="2109787" cy="51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919482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1.3 </a:t>
            </a:r>
            <a:r>
              <a:rPr lang="ko-KR" altLang="en-US" dirty="0" smtClean="0">
                <a:solidFill>
                  <a:schemeClr val="tx2"/>
                </a:solidFill>
                <a:latin typeface="맑은 고딕" pitchFamily="50" charset="-127"/>
              </a:rPr>
              <a:t>새 구매</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455920" y="157096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461760" y="1575125"/>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153400" y="1575125"/>
            <a:ext cx="131095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지갑</a:t>
            </a:r>
            <a:r>
              <a:rPr kumimoji="0" lang="en-US" altLang="ko-KR" sz="1400" dirty="0" smtClean="0">
                <a:solidFill>
                  <a:schemeClr val="bg1"/>
                </a:solidFill>
              </a:rPr>
              <a:t>(</a:t>
            </a:r>
            <a:r>
              <a:rPr kumimoji="0" lang="ko-KR" altLang="en-US" sz="1400" dirty="0" err="1" smtClean="0">
                <a:solidFill>
                  <a:schemeClr val="bg1"/>
                </a:solidFill>
              </a:rPr>
              <a:t>내정보</a:t>
            </a:r>
            <a:r>
              <a:rPr kumimoji="0" lang="en-US" altLang="ko-KR" sz="1400" dirty="0" smtClean="0">
                <a:solidFill>
                  <a:schemeClr val="bg1"/>
                </a:solidFill>
              </a:rPr>
              <a:t>)</a:t>
            </a:r>
          </a:p>
        </p:txBody>
      </p:sp>
      <p:sp>
        <p:nvSpPr>
          <p:cNvPr id="16" name="Rectangle 37"/>
          <p:cNvSpPr>
            <a:spLocks noChangeArrowheads="1"/>
          </p:cNvSpPr>
          <p:nvPr/>
        </p:nvSpPr>
        <p:spPr bwMode="auto">
          <a:xfrm>
            <a:off x="7467600" y="1566812"/>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sp>
        <p:nvSpPr>
          <p:cNvPr id="10" name="Rectangle 2"/>
          <p:cNvSpPr txBox="1">
            <a:spLocks noChangeArrowheads="1"/>
          </p:cNvSpPr>
          <p:nvPr/>
        </p:nvSpPr>
        <p:spPr bwMode="auto">
          <a:xfrm>
            <a:off x="296863" y="48280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기본적으로 </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새 구매</a:t>
            </a:r>
            <a:r>
              <a:rPr lang="en-US" altLang="ko-KR" sz="1800" b="0" kern="0" dirty="0" smtClean="0">
                <a:latin typeface="맑은 고딕" panose="020B0503020000020004" pitchFamily="50" charset="-127"/>
              </a:rPr>
              <a:t>’ </a:t>
            </a:r>
            <a:r>
              <a:rPr lang="ko-KR" altLang="en-US" sz="1800" b="0" kern="0" dirty="0" err="1" smtClean="0">
                <a:latin typeface="맑은 고딕" panose="020B0503020000020004" pitchFamily="50" charset="-127"/>
              </a:rPr>
              <a:t>프론트는</a:t>
            </a:r>
            <a:r>
              <a:rPr lang="ko-KR" altLang="en-US" sz="1800" b="0" kern="0" dirty="0" smtClean="0">
                <a:latin typeface="맑은 고딕" panose="020B0503020000020004" pitchFamily="50" charset="-127"/>
              </a:rPr>
              <a:t> </a:t>
            </a:r>
            <a:r>
              <a:rPr lang="en-US" altLang="ko-KR" sz="1800" b="0" kern="0" dirty="0" err="1" smtClean="0">
                <a:latin typeface="맑은 고딕" panose="020B0503020000020004" pitchFamily="50" charset="-127"/>
              </a:rPr>
              <a:t>opensea</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와 유사</a:t>
            </a:r>
            <a:r>
              <a:rPr lang="en-US" altLang="ko-KR" sz="1800" b="0" kern="0" dirty="0" smtClean="0">
                <a:latin typeface="맑은 고딕" panose="020B0503020000020004" pitchFamily="50" charset="-127"/>
              </a:rPr>
              <a:t>. </a:t>
            </a:r>
            <a:r>
              <a:rPr lang="ko-KR" altLang="en-US" sz="1800" b="0" kern="0" dirty="0" err="1" smtClean="0">
                <a:latin typeface="맑은 고딕" panose="020B0503020000020004" pitchFamily="50" charset="-127"/>
              </a:rPr>
              <a:t>필터링</a:t>
            </a:r>
            <a:r>
              <a:rPr lang="ko-KR" altLang="en-US" sz="1800" b="0" kern="0" dirty="0" smtClean="0">
                <a:latin typeface="맑은 고딕" panose="020B0503020000020004" pitchFamily="50" charset="-127"/>
              </a:rPr>
              <a:t> 등 유사기능 구현 필요할지</a:t>
            </a:r>
            <a:r>
              <a:rPr lang="en-US" altLang="ko-KR" sz="1800" b="0" kern="0" dirty="0" smtClean="0">
                <a:latin typeface="맑은 고딕" panose="020B0503020000020004" pitchFamily="50" charset="-127"/>
              </a:rPr>
              <a:t>?</a:t>
            </a:r>
          </a:p>
          <a:p>
            <a:pPr>
              <a:defRPr/>
            </a:pPr>
            <a:r>
              <a:rPr lang="ko-KR" altLang="en-US" sz="1800" b="0" kern="0" dirty="0" smtClean="0">
                <a:latin typeface="맑은 고딕" panose="020B0503020000020004" pitchFamily="50" charset="-127"/>
              </a:rPr>
              <a:t>또한 </a:t>
            </a:r>
            <a:r>
              <a:rPr lang="ko-KR" altLang="en-US" sz="1800" b="0" kern="0" dirty="0" err="1" smtClean="0">
                <a:latin typeface="맑은 고딕" panose="020B0503020000020004" pitchFamily="50" charset="-127"/>
              </a:rPr>
              <a:t>구매가능한</a:t>
            </a:r>
            <a:r>
              <a:rPr lang="ko-KR" altLang="en-US" sz="1800" b="0" kern="0" dirty="0" smtClean="0">
                <a:latin typeface="맑은 고딕" panose="020B0503020000020004" pitchFamily="50" charset="-127"/>
              </a:rPr>
              <a:t> </a:t>
            </a: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대상을 여러 </a:t>
            </a:r>
            <a:r>
              <a:rPr lang="ko-KR" altLang="en-US" sz="1800" b="0" kern="0" dirty="0">
                <a:latin typeface="맑은 고딕" panose="020B0503020000020004" pitchFamily="50" charset="-127"/>
              </a:rPr>
              <a:t>종류</a:t>
            </a:r>
            <a:r>
              <a:rPr lang="en-US" altLang="ko-KR" sz="1800" b="0" kern="0" dirty="0">
                <a:latin typeface="맑은 고딕" panose="020B0503020000020004" pitchFamily="50" charset="-127"/>
              </a:rPr>
              <a:t>(</a:t>
            </a:r>
            <a:r>
              <a:rPr lang="ko-KR" altLang="en-US" sz="1800" b="0" kern="0" dirty="0">
                <a:latin typeface="맑은 고딕" panose="020B0503020000020004" pitchFamily="50" charset="-127"/>
              </a:rPr>
              <a:t>플랫폼</a:t>
            </a:r>
            <a:r>
              <a:rPr lang="en-US" altLang="ko-KR" sz="1800" b="0" kern="0" dirty="0">
                <a:latin typeface="맑은 고딕" panose="020B0503020000020004" pitchFamily="50" charset="-127"/>
              </a:rPr>
              <a:t>) </a:t>
            </a:r>
            <a:r>
              <a:rPr lang="ko-KR" altLang="en-US" sz="1800" b="0" kern="0" dirty="0" smtClean="0">
                <a:latin typeface="맑은 고딕" panose="020B0503020000020004" pitchFamily="50" charset="-127"/>
              </a:rPr>
              <a:t>로 하여 카테고리화</a:t>
            </a:r>
            <a:endParaRPr lang="en-US" altLang="ko-KR" sz="1800" b="0" kern="0" dirty="0">
              <a:latin typeface="맑은 고딕" panose="020B0503020000020004" pitchFamily="50" charset="-127"/>
            </a:endParaRPr>
          </a:p>
          <a:p>
            <a:pPr>
              <a:defRPr/>
            </a:pPr>
            <a:r>
              <a:rPr lang="en-US" altLang="ko-KR" sz="1800" b="0" kern="0" dirty="0" smtClean="0">
                <a:latin typeface="맑은 고딕" panose="020B0503020000020004" pitchFamily="50" charset="-127"/>
              </a:rPr>
              <a:t>(</a:t>
            </a:r>
            <a:r>
              <a:rPr lang="ko-KR" altLang="en-US" sz="1800" b="0" kern="0" dirty="0" err="1">
                <a:latin typeface="맑은 고딕" panose="020B0503020000020004" pitchFamily="50" charset="-127"/>
              </a:rPr>
              <a:t>샌드박스</a:t>
            </a:r>
            <a:r>
              <a:rPr lang="ko-KR" altLang="en-US" sz="1800" b="0" kern="0" dirty="0">
                <a:latin typeface="맑은 고딕" panose="020B0503020000020004" pitchFamily="50" charset="-127"/>
              </a:rPr>
              <a:t> </a:t>
            </a:r>
            <a:r>
              <a:rPr lang="en-US" altLang="ko-KR" sz="1800" b="0" kern="0" dirty="0">
                <a:latin typeface="맑은 고딕" panose="020B0503020000020004" pitchFamily="50" charset="-127"/>
              </a:rPr>
              <a:t>NFT </a:t>
            </a:r>
            <a:r>
              <a:rPr lang="ko-KR" altLang="en-US" sz="1800" b="0" kern="0" dirty="0">
                <a:latin typeface="맑은 고딕" panose="020B0503020000020004" pitchFamily="50" charset="-127"/>
              </a:rPr>
              <a:t>도 </a:t>
            </a:r>
            <a:r>
              <a:rPr lang="ko-KR" altLang="en-US" sz="1800" b="0" kern="0" dirty="0" err="1">
                <a:latin typeface="맑은 고딕" panose="020B0503020000020004" pitchFamily="50" charset="-127"/>
              </a:rPr>
              <a:t>공동구매할</a:t>
            </a:r>
            <a:r>
              <a:rPr lang="ko-KR" altLang="en-US" sz="1800" b="0" kern="0" dirty="0">
                <a:latin typeface="맑은 고딕" panose="020B0503020000020004" pitchFamily="50" charset="-127"/>
              </a:rPr>
              <a:t> 수 있고</a:t>
            </a:r>
            <a:r>
              <a:rPr lang="en-US" altLang="ko-KR" sz="1800" b="0" kern="0" dirty="0">
                <a:latin typeface="맑은 고딕" panose="020B0503020000020004" pitchFamily="50" charset="-127"/>
              </a:rPr>
              <a:t>, </a:t>
            </a:r>
            <a:r>
              <a:rPr lang="ko-KR" altLang="en-US" sz="1800" b="0" kern="0" dirty="0" err="1">
                <a:latin typeface="맑은 고딕" panose="020B0503020000020004" pitchFamily="50" charset="-127"/>
              </a:rPr>
              <a:t>엑시인피니티의</a:t>
            </a:r>
            <a:r>
              <a:rPr lang="ko-KR" altLang="en-US" sz="1800" b="0" kern="0" dirty="0">
                <a:latin typeface="맑은 고딕" panose="020B0503020000020004" pitchFamily="50" charset="-127"/>
              </a:rPr>
              <a:t> </a:t>
            </a:r>
            <a:r>
              <a:rPr lang="en-US" altLang="ko-KR" sz="1800" b="0" kern="0" dirty="0">
                <a:latin typeface="맑은 고딕" panose="020B0503020000020004" pitchFamily="50" charset="-127"/>
              </a:rPr>
              <a:t>NFT </a:t>
            </a:r>
            <a:r>
              <a:rPr lang="ko-KR" altLang="en-US" sz="1800" b="0" kern="0" dirty="0">
                <a:latin typeface="맑은 고딕" panose="020B0503020000020004" pitchFamily="50" charset="-127"/>
              </a:rPr>
              <a:t>도 </a:t>
            </a:r>
            <a:r>
              <a:rPr lang="ko-KR" altLang="en-US" sz="1800" b="0" kern="0" dirty="0" err="1">
                <a:latin typeface="맑은 고딕" panose="020B0503020000020004" pitchFamily="50" charset="-127"/>
              </a:rPr>
              <a:t>공동구매할</a:t>
            </a:r>
            <a:r>
              <a:rPr lang="ko-KR" altLang="en-US" sz="1800" b="0" kern="0" dirty="0">
                <a:latin typeface="맑은 고딕" panose="020B0503020000020004" pitchFamily="50" charset="-127"/>
              </a:rPr>
              <a:t> 수 있고</a:t>
            </a:r>
            <a:r>
              <a:rPr lang="en-US" altLang="ko-KR" sz="1800" b="0" kern="0" dirty="0" smtClean="0">
                <a:latin typeface="맑은 고딕" panose="020B0503020000020004" pitchFamily="50" charset="-127"/>
              </a:rPr>
              <a:t>..)</a:t>
            </a:r>
            <a:endParaRPr lang="en-US" altLang="ko-KR" sz="1800" b="0" kern="0" dirty="0">
              <a:latin typeface="맑은 고딕" panose="020B0503020000020004" pitchFamily="50" charset="-127"/>
            </a:endParaRPr>
          </a:p>
        </p:txBody>
      </p:sp>
      <p:pic>
        <p:nvPicPr>
          <p:cNvPr id="931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240" y="2148840"/>
            <a:ext cx="9059369" cy="416052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1" descr="C:\Users\jihon\Desktop\참고PPT\01\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546030"/>
            <a:ext cx="2109787" cy="51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55059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1.3 </a:t>
            </a:r>
            <a:r>
              <a:rPr lang="ko-KR" altLang="en-US" dirty="0" smtClean="0">
                <a:solidFill>
                  <a:schemeClr val="tx2"/>
                </a:solidFill>
                <a:latin typeface="맑은 고딕" pitchFamily="50" charset="-127"/>
              </a:rPr>
              <a:t>새 구매</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455920" y="157096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461760" y="1575125"/>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153400" y="1575125"/>
            <a:ext cx="131095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지갑</a:t>
            </a:r>
            <a:r>
              <a:rPr kumimoji="0" lang="en-US" altLang="ko-KR" sz="1400" dirty="0" smtClean="0">
                <a:solidFill>
                  <a:schemeClr val="bg1"/>
                </a:solidFill>
              </a:rPr>
              <a:t>(</a:t>
            </a:r>
            <a:r>
              <a:rPr kumimoji="0" lang="ko-KR" altLang="en-US" sz="1400" dirty="0" err="1" smtClean="0">
                <a:solidFill>
                  <a:schemeClr val="bg1"/>
                </a:solidFill>
              </a:rPr>
              <a:t>내정보</a:t>
            </a:r>
            <a:r>
              <a:rPr kumimoji="0" lang="en-US" altLang="ko-KR" sz="1400" dirty="0" smtClean="0">
                <a:solidFill>
                  <a:schemeClr val="bg1"/>
                </a:solidFill>
              </a:rPr>
              <a:t>)</a:t>
            </a:r>
          </a:p>
        </p:txBody>
      </p:sp>
      <p:sp>
        <p:nvSpPr>
          <p:cNvPr id="16" name="Rectangle 37"/>
          <p:cNvSpPr>
            <a:spLocks noChangeArrowheads="1"/>
          </p:cNvSpPr>
          <p:nvPr/>
        </p:nvSpPr>
        <p:spPr bwMode="auto">
          <a:xfrm>
            <a:off x="7467600" y="1566812"/>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sp>
        <p:nvSpPr>
          <p:cNvPr id="10" name="Rectangle 2"/>
          <p:cNvSpPr txBox="1">
            <a:spLocks noChangeArrowheads="1"/>
          </p:cNvSpPr>
          <p:nvPr/>
        </p:nvSpPr>
        <p:spPr bwMode="auto">
          <a:xfrm>
            <a:off x="296863" y="48280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한 개를 클릭했을 때 구매 방식 분기</a:t>
            </a:r>
            <a:endParaRPr lang="en-US" altLang="ko-KR" sz="1800" b="0" kern="0" dirty="0" smtClean="0">
              <a:latin typeface="맑은 고딕" panose="020B0503020000020004" pitchFamily="50" charset="-127"/>
            </a:endParaRPr>
          </a:p>
          <a:p>
            <a:pPr>
              <a:defRPr/>
            </a:pPr>
            <a:r>
              <a:rPr lang="ko-KR" altLang="en-US" sz="1800" b="0" kern="0" dirty="0" smtClean="0">
                <a:latin typeface="맑은 고딕" panose="020B0503020000020004" pitchFamily="50" charset="-127"/>
              </a:rPr>
              <a:t>공동 구매 요청</a:t>
            </a:r>
            <a:r>
              <a:rPr lang="en-US" altLang="ko-KR" sz="1800" b="0" kern="0" dirty="0" smtClean="0">
                <a:latin typeface="맑은 고딕" panose="020B0503020000020004" pitchFamily="50" charset="-127"/>
              </a:rPr>
              <a:t>: 2</a:t>
            </a:r>
            <a:r>
              <a:rPr lang="ko-KR" altLang="en-US" sz="1800" b="0" kern="0" dirty="0" err="1" smtClean="0">
                <a:latin typeface="맑은 고딕" panose="020B0503020000020004" pitchFamily="50" charset="-127"/>
              </a:rPr>
              <a:t>명이서</a:t>
            </a:r>
            <a:r>
              <a:rPr lang="ko-KR" altLang="en-US" sz="1800" b="0" kern="0" dirty="0" smtClean="0">
                <a:latin typeface="맑은 고딕" panose="020B0503020000020004" pitchFamily="50" charset="-127"/>
              </a:rPr>
              <a:t> 절반 씩 지분을 가질지</a:t>
            </a:r>
            <a:r>
              <a:rPr lang="en-US" altLang="ko-KR" sz="1800" b="0" kern="0" dirty="0" smtClean="0">
                <a:latin typeface="맑은 고딕" panose="020B0503020000020004" pitchFamily="50" charset="-127"/>
              </a:rPr>
              <a:t>, 3</a:t>
            </a:r>
            <a:r>
              <a:rPr lang="ko-KR" altLang="en-US" sz="1800" b="0" kern="0" dirty="0" err="1" smtClean="0">
                <a:latin typeface="맑은 고딕" panose="020B0503020000020004" pitchFamily="50" charset="-127"/>
              </a:rPr>
              <a:t>명이서</a:t>
            </a:r>
            <a:r>
              <a:rPr lang="ko-KR" altLang="en-US" sz="1800" b="0" kern="0" dirty="0" smtClean="0">
                <a:latin typeface="맑은 고딕" panose="020B0503020000020004" pitchFamily="50" charset="-127"/>
              </a:rPr>
              <a:t> 할지</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무제한으로 받을지 등 설정</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향후 자산 운용 방식 등 설정 </a:t>
            </a:r>
            <a:r>
              <a:rPr lang="en-US" altLang="ko-KR" sz="1800" b="0" kern="0" dirty="0" smtClean="0">
                <a:latin typeface="맑은 고딕" panose="020B0503020000020004" pitchFamily="50" charset="-127"/>
              </a:rPr>
              <a:t>=&gt; </a:t>
            </a:r>
            <a:r>
              <a:rPr lang="ko-KR" altLang="en-US" sz="1800" b="0" kern="0" dirty="0" smtClean="0">
                <a:latin typeface="맑은 고딕" panose="020B0503020000020004" pitchFamily="50" charset="-127"/>
              </a:rPr>
              <a:t>의논 필요 </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스마트 </a:t>
            </a:r>
            <a:r>
              <a:rPr lang="ko-KR" altLang="en-US" sz="1800" b="0" kern="0" dirty="0" err="1" smtClean="0">
                <a:latin typeface="맑은 고딕" panose="020B0503020000020004" pitchFamily="50" charset="-127"/>
              </a:rPr>
              <a:t>컨트랙트</a:t>
            </a:r>
            <a:r>
              <a:rPr lang="en-US" altLang="ko-KR" sz="1800" b="0" kern="0" dirty="0" smtClean="0">
                <a:latin typeface="맑은 고딕" panose="020B0503020000020004" pitchFamily="50" charset="-127"/>
              </a:rPr>
              <a:t>)</a:t>
            </a:r>
            <a:endParaRPr lang="ko-KR" altLang="en-US" sz="1800" b="0" kern="0" dirty="0">
              <a:latin typeface="맑은 고딕" panose="020B0503020000020004" pitchFamily="50" charset="-127"/>
            </a:endParaRPr>
          </a:p>
        </p:txBody>
      </p:sp>
      <p:pic>
        <p:nvPicPr>
          <p:cNvPr id="942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2064173"/>
            <a:ext cx="7619365" cy="41372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37"/>
          <p:cNvSpPr>
            <a:spLocks noChangeArrowheads="1"/>
          </p:cNvSpPr>
          <p:nvPr/>
        </p:nvSpPr>
        <p:spPr bwMode="auto">
          <a:xfrm>
            <a:off x="6037884" y="4617720"/>
            <a:ext cx="1540589" cy="320040"/>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공동 구매 요청</a:t>
            </a:r>
            <a:endParaRPr kumimoji="1" lang="ko-KR" altLang="en-US" kern="0" dirty="0">
              <a:solidFill>
                <a:schemeClr val="bg1"/>
              </a:solidFill>
              <a:latin typeface="맑은 고딕" panose="020B0503020000020004" pitchFamily="50" charset="-127"/>
            </a:endParaRPr>
          </a:p>
        </p:txBody>
      </p:sp>
      <p:sp>
        <p:nvSpPr>
          <p:cNvPr id="18" name="Rectangle 37"/>
          <p:cNvSpPr>
            <a:spLocks noChangeArrowheads="1"/>
          </p:cNvSpPr>
          <p:nvPr/>
        </p:nvSpPr>
        <p:spPr bwMode="auto">
          <a:xfrm>
            <a:off x="7650480" y="4617720"/>
            <a:ext cx="1540589" cy="320040"/>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Sub-Dao</a:t>
            </a:r>
            <a:r>
              <a:rPr kumimoji="1" lang="ko-KR" altLang="en-US" kern="0" dirty="0" smtClean="0">
                <a:solidFill>
                  <a:schemeClr val="bg1"/>
                </a:solidFill>
                <a:latin typeface="맑은 고딕" panose="020B0503020000020004" pitchFamily="50" charset="-127"/>
              </a:rPr>
              <a:t>에</a:t>
            </a:r>
            <a:r>
              <a:rPr kumimoji="1" lang="en-US" altLang="ko-KR" kern="0" dirty="0" smtClean="0">
                <a:solidFill>
                  <a:schemeClr val="bg1"/>
                </a:solidFill>
                <a:latin typeface="맑은 고딕" panose="020B0503020000020004" pitchFamily="50" charset="-127"/>
              </a:rPr>
              <a:t> </a:t>
            </a:r>
            <a:r>
              <a:rPr kumimoji="1" lang="ko-KR" altLang="en-US" kern="0" dirty="0" smtClean="0">
                <a:solidFill>
                  <a:schemeClr val="bg1"/>
                </a:solidFill>
                <a:latin typeface="맑은 고딕" panose="020B0503020000020004" pitchFamily="50" charset="-127"/>
              </a:rPr>
              <a:t>제</a:t>
            </a:r>
            <a:r>
              <a:rPr kumimoji="1" lang="ko-KR" altLang="en-US" kern="0" dirty="0">
                <a:solidFill>
                  <a:schemeClr val="bg1"/>
                </a:solidFill>
                <a:latin typeface="맑은 고딕" panose="020B0503020000020004" pitchFamily="50" charset="-127"/>
              </a:rPr>
              <a:t>안</a:t>
            </a:r>
          </a:p>
        </p:txBody>
      </p:sp>
      <p:sp>
        <p:nvSpPr>
          <p:cNvPr id="19" name="Rectangle 37"/>
          <p:cNvSpPr>
            <a:spLocks noChangeArrowheads="1"/>
          </p:cNvSpPr>
          <p:nvPr/>
        </p:nvSpPr>
        <p:spPr bwMode="auto">
          <a:xfrm>
            <a:off x="4454346" y="5090160"/>
            <a:ext cx="1540589" cy="320040"/>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토큰 담보 구매</a:t>
            </a:r>
            <a:endParaRPr kumimoji="1" lang="ko-KR" altLang="en-US" kern="0" dirty="0">
              <a:solidFill>
                <a:schemeClr val="bg1"/>
              </a:solidFill>
              <a:latin typeface="맑은 고딕" panose="020B0503020000020004" pitchFamily="50" charset="-127"/>
            </a:endParaRPr>
          </a:p>
        </p:txBody>
      </p:sp>
      <p:pic>
        <p:nvPicPr>
          <p:cNvPr id="20" name="Picture 1" descr="C:\Users\jihon\Desktop\참고PPT\01\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546030"/>
            <a:ext cx="2109787" cy="51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782191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1.4 </a:t>
            </a:r>
            <a:r>
              <a:rPr lang="ko-KR" altLang="en-US" dirty="0" smtClean="0">
                <a:solidFill>
                  <a:schemeClr val="tx2"/>
                </a:solidFill>
                <a:latin typeface="맑은 고딕" pitchFamily="50" charset="-127"/>
              </a:rPr>
              <a:t>공동구매 진행 중</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455920" y="157096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461760" y="1575125"/>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153400" y="1575125"/>
            <a:ext cx="131095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지갑</a:t>
            </a:r>
            <a:r>
              <a:rPr kumimoji="0" lang="en-US" altLang="ko-KR" sz="1400" dirty="0" smtClean="0">
                <a:solidFill>
                  <a:schemeClr val="bg1"/>
                </a:solidFill>
              </a:rPr>
              <a:t>(</a:t>
            </a:r>
            <a:r>
              <a:rPr kumimoji="0" lang="ko-KR" altLang="en-US" sz="1400" dirty="0" err="1" smtClean="0">
                <a:solidFill>
                  <a:schemeClr val="bg1"/>
                </a:solidFill>
              </a:rPr>
              <a:t>내정보</a:t>
            </a:r>
            <a:r>
              <a:rPr kumimoji="0" lang="en-US" altLang="ko-KR" sz="1400" dirty="0" smtClean="0">
                <a:solidFill>
                  <a:schemeClr val="bg1"/>
                </a:solidFill>
              </a:rPr>
              <a:t>)</a:t>
            </a:r>
          </a:p>
        </p:txBody>
      </p:sp>
      <p:sp>
        <p:nvSpPr>
          <p:cNvPr id="16" name="Rectangle 37"/>
          <p:cNvSpPr>
            <a:spLocks noChangeArrowheads="1"/>
          </p:cNvSpPr>
          <p:nvPr/>
        </p:nvSpPr>
        <p:spPr bwMode="auto">
          <a:xfrm>
            <a:off x="7467600" y="1566812"/>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sp>
        <p:nvSpPr>
          <p:cNvPr id="10" name="Rectangle 2"/>
          <p:cNvSpPr txBox="1">
            <a:spLocks noChangeArrowheads="1"/>
          </p:cNvSpPr>
          <p:nvPr/>
        </p:nvSpPr>
        <p:spPr bwMode="auto">
          <a:xfrm>
            <a:off x="296863" y="48280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게시판을 통해 공동구매를 요청한 리스트를 확인</a:t>
            </a:r>
            <a:endParaRPr lang="ko-KR" altLang="en-US" sz="1800" b="0" kern="0" dirty="0">
              <a:latin typeface="맑은 고딕" panose="020B0503020000020004" pitchFamily="50" charset="-127"/>
            </a:endParaRPr>
          </a:p>
        </p:txBody>
      </p:sp>
      <p:pic>
        <p:nvPicPr>
          <p:cNvPr id="952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927" y="2211411"/>
            <a:ext cx="9076430" cy="4235109"/>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37"/>
          <p:cNvSpPr>
            <a:spLocks noChangeArrowheads="1"/>
          </p:cNvSpPr>
          <p:nvPr/>
        </p:nvSpPr>
        <p:spPr bwMode="auto">
          <a:xfrm>
            <a:off x="472440" y="2258174"/>
            <a:ext cx="1097280"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모</a:t>
            </a:r>
            <a:r>
              <a:rPr kumimoji="1" lang="ko-KR" altLang="en-US" kern="0" dirty="0">
                <a:solidFill>
                  <a:schemeClr val="bg1"/>
                </a:solidFill>
                <a:latin typeface="맑은 고딕" panose="020B0503020000020004" pitchFamily="50" charset="-127"/>
              </a:rPr>
              <a:t>집</a:t>
            </a:r>
            <a:r>
              <a:rPr kumimoji="1" lang="ko-KR" altLang="en-US" kern="0" dirty="0" smtClean="0">
                <a:solidFill>
                  <a:schemeClr val="bg1"/>
                </a:solidFill>
                <a:latin typeface="맑은 고딕" panose="020B0503020000020004" pitchFamily="50" charset="-127"/>
              </a:rPr>
              <a:t> 방식</a:t>
            </a:r>
            <a:endParaRPr kumimoji="1" lang="ko-KR" altLang="en-US" kern="0" dirty="0">
              <a:solidFill>
                <a:schemeClr val="bg1"/>
              </a:solidFill>
              <a:latin typeface="맑은 고딕" panose="020B0503020000020004" pitchFamily="50" charset="-127"/>
            </a:endParaRPr>
          </a:p>
        </p:txBody>
      </p:sp>
      <p:sp>
        <p:nvSpPr>
          <p:cNvPr id="17" name="Rectangle 37"/>
          <p:cNvSpPr>
            <a:spLocks noChangeArrowheads="1"/>
          </p:cNvSpPr>
          <p:nvPr/>
        </p:nvSpPr>
        <p:spPr bwMode="auto">
          <a:xfrm>
            <a:off x="472440" y="3336406"/>
            <a:ext cx="1097280"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½ </a:t>
            </a:r>
            <a:r>
              <a:rPr kumimoji="1" lang="ko-KR" altLang="en-US" kern="0" dirty="0" smtClean="0">
                <a:solidFill>
                  <a:schemeClr val="bg1"/>
                </a:solidFill>
                <a:latin typeface="맑은 고딕" panose="020B0503020000020004" pitchFamily="50" charset="-127"/>
              </a:rPr>
              <a:t>명</a:t>
            </a:r>
            <a:endParaRPr kumimoji="1" lang="ko-KR" altLang="en-US" kern="0" dirty="0">
              <a:solidFill>
                <a:schemeClr val="bg1"/>
              </a:solidFill>
              <a:latin typeface="맑은 고딕" panose="020B0503020000020004" pitchFamily="50" charset="-127"/>
            </a:endParaRPr>
          </a:p>
        </p:txBody>
      </p:sp>
      <p:sp>
        <p:nvSpPr>
          <p:cNvPr id="18" name="Rectangle 37"/>
          <p:cNvSpPr>
            <a:spLocks noChangeArrowheads="1"/>
          </p:cNvSpPr>
          <p:nvPr/>
        </p:nvSpPr>
        <p:spPr bwMode="auto">
          <a:xfrm>
            <a:off x="472440" y="3905132"/>
            <a:ext cx="1097280"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3/10 </a:t>
            </a:r>
            <a:r>
              <a:rPr kumimoji="1" lang="ko-KR" altLang="en-US" kern="0" dirty="0" smtClean="0">
                <a:solidFill>
                  <a:schemeClr val="bg1"/>
                </a:solidFill>
                <a:latin typeface="맑은 고딕" panose="020B0503020000020004" pitchFamily="50" charset="-127"/>
              </a:rPr>
              <a:t>명</a:t>
            </a:r>
            <a:endParaRPr kumimoji="1" lang="ko-KR" altLang="en-US" kern="0" dirty="0">
              <a:solidFill>
                <a:schemeClr val="bg1"/>
              </a:solidFill>
              <a:latin typeface="맑은 고딕" panose="020B0503020000020004" pitchFamily="50" charset="-127"/>
            </a:endParaRPr>
          </a:p>
        </p:txBody>
      </p:sp>
      <p:sp>
        <p:nvSpPr>
          <p:cNvPr id="19" name="Rectangle 37"/>
          <p:cNvSpPr>
            <a:spLocks noChangeArrowheads="1"/>
          </p:cNvSpPr>
          <p:nvPr/>
        </p:nvSpPr>
        <p:spPr bwMode="auto">
          <a:xfrm>
            <a:off x="4587240" y="2294311"/>
            <a:ext cx="1143317" cy="320439"/>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smtClean="0">
                <a:solidFill>
                  <a:schemeClr val="bg1"/>
                </a:solidFill>
                <a:latin typeface="맑은 고딕" panose="020B0503020000020004" pitchFamily="50" charset="-127"/>
              </a:rPr>
              <a:t>모집 </a:t>
            </a:r>
            <a:r>
              <a:rPr kumimoji="1" lang="ko-KR" altLang="en-US" kern="0" dirty="0" err="1" smtClean="0">
                <a:solidFill>
                  <a:schemeClr val="bg1"/>
                </a:solidFill>
                <a:latin typeface="맑은 고딕" panose="020B0503020000020004" pitchFamily="50" charset="-127"/>
              </a:rPr>
              <a:t>완료율</a:t>
            </a:r>
            <a:endParaRPr kumimoji="1" lang="ko-KR" altLang="en-US" kern="0" dirty="0">
              <a:solidFill>
                <a:schemeClr val="bg1"/>
              </a:solidFill>
              <a:latin typeface="맑은 고딕" panose="020B0503020000020004" pitchFamily="50" charset="-127"/>
            </a:endParaRPr>
          </a:p>
        </p:txBody>
      </p:sp>
      <p:sp>
        <p:nvSpPr>
          <p:cNvPr id="20" name="Rectangle 37"/>
          <p:cNvSpPr>
            <a:spLocks noChangeArrowheads="1"/>
          </p:cNvSpPr>
          <p:nvPr/>
        </p:nvSpPr>
        <p:spPr bwMode="auto">
          <a:xfrm>
            <a:off x="5799296" y="2294311"/>
            <a:ext cx="1143317" cy="320439"/>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남은 </a:t>
            </a:r>
            <a:r>
              <a:rPr kumimoji="1" lang="ko-KR" altLang="en-US" kern="0" dirty="0" err="1" smtClean="0">
                <a:solidFill>
                  <a:schemeClr val="bg1"/>
                </a:solidFill>
                <a:latin typeface="맑은 고딕" panose="020B0503020000020004" pitchFamily="50" charset="-127"/>
              </a:rPr>
              <a:t>이더</a:t>
            </a:r>
            <a:endParaRPr kumimoji="1" lang="ko-KR" altLang="en-US" kern="0" dirty="0">
              <a:solidFill>
                <a:schemeClr val="bg1"/>
              </a:solidFill>
              <a:latin typeface="맑은 고딕" panose="020B0503020000020004" pitchFamily="50" charset="-127"/>
            </a:endParaRPr>
          </a:p>
        </p:txBody>
      </p:sp>
      <p:sp>
        <p:nvSpPr>
          <p:cNvPr id="21" name="Rectangle 37"/>
          <p:cNvSpPr>
            <a:spLocks noChangeArrowheads="1"/>
          </p:cNvSpPr>
          <p:nvPr/>
        </p:nvSpPr>
        <p:spPr bwMode="auto">
          <a:xfrm>
            <a:off x="7031716" y="2294311"/>
            <a:ext cx="1143317" cy="320439"/>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err="1" smtClean="0">
                <a:solidFill>
                  <a:schemeClr val="bg1"/>
                </a:solidFill>
                <a:latin typeface="맑은 고딕" panose="020B0503020000020004" pitchFamily="50" charset="-127"/>
              </a:rPr>
              <a:t>요청</a:t>
            </a:r>
            <a:r>
              <a:rPr kumimoji="1" lang="ko-KR" altLang="en-US" kern="0" dirty="0" err="1">
                <a:solidFill>
                  <a:schemeClr val="bg1"/>
                </a:solidFill>
                <a:latin typeface="맑은 고딕" panose="020B0503020000020004" pitchFamily="50" charset="-127"/>
              </a:rPr>
              <a:t>자</a:t>
            </a:r>
            <a:endParaRPr kumimoji="1" lang="ko-KR" altLang="en-US" kern="0" dirty="0">
              <a:solidFill>
                <a:schemeClr val="bg1"/>
              </a:solidFill>
              <a:latin typeface="맑은 고딕" panose="020B0503020000020004" pitchFamily="50" charset="-127"/>
            </a:endParaRPr>
          </a:p>
        </p:txBody>
      </p:sp>
      <p:sp>
        <p:nvSpPr>
          <p:cNvPr id="22" name="Rectangle 37"/>
          <p:cNvSpPr>
            <a:spLocks noChangeArrowheads="1"/>
          </p:cNvSpPr>
          <p:nvPr/>
        </p:nvSpPr>
        <p:spPr bwMode="auto">
          <a:xfrm>
            <a:off x="871132" y="1365863"/>
            <a:ext cx="407701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SANDBOX &lt;= </a:t>
            </a:r>
            <a:r>
              <a:rPr kumimoji="1" lang="ko-KR" altLang="en-US" kern="0" dirty="0" err="1" smtClean="0">
                <a:solidFill>
                  <a:schemeClr val="bg1"/>
                </a:solidFill>
                <a:latin typeface="맑은 고딕" panose="020B0503020000020004" pitchFamily="50" charset="-127"/>
              </a:rPr>
              <a:t>타겟</a:t>
            </a:r>
            <a:r>
              <a:rPr kumimoji="1" lang="ko-KR" altLang="en-US" kern="0" dirty="0" smtClean="0">
                <a:solidFill>
                  <a:schemeClr val="bg1"/>
                </a:solidFill>
                <a:latin typeface="맑은 고딕" panose="020B0503020000020004" pitchFamily="50" charset="-127"/>
              </a:rPr>
              <a:t> 메타버스 플랫폼에 따라 게시판이 분기될 수 있음</a:t>
            </a:r>
            <a:endParaRPr kumimoji="1" lang="ko-KR" altLang="en-US" kern="0" dirty="0">
              <a:solidFill>
                <a:schemeClr val="bg1"/>
              </a:solidFill>
              <a:latin typeface="맑은 고딕" panose="020B0503020000020004" pitchFamily="50" charset="-127"/>
            </a:endParaRPr>
          </a:p>
        </p:txBody>
      </p:sp>
      <p:sp>
        <p:nvSpPr>
          <p:cNvPr id="23" name="Rectangle 37"/>
          <p:cNvSpPr>
            <a:spLocks noChangeArrowheads="1"/>
          </p:cNvSpPr>
          <p:nvPr/>
        </p:nvSpPr>
        <p:spPr bwMode="auto">
          <a:xfrm>
            <a:off x="1935480" y="2260944"/>
            <a:ext cx="1097280"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NFT</a:t>
            </a:r>
            <a:endParaRPr kumimoji="1" lang="ko-KR" altLang="en-US" kern="0" dirty="0">
              <a:solidFill>
                <a:schemeClr val="bg1"/>
              </a:solidFill>
              <a:latin typeface="맑은 고딕" panose="020B0503020000020004" pitchFamily="50" charset="-127"/>
            </a:endParaRPr>
          </a:p>
        </p:txBody>
      </p:sp>
      <p:sp>
        <p:nvSpPr>
          <p:cNvPr id="24" name="Rectangle 37"/>
          <p:cNvSpPr>
            <a:spLocks noChangeArrowheads="1"/>
          </p:cNvSpPr>
          <p:nvPr/>
        </p:nvSpPr>
        <p:spPr bwMode="auto">
          <a:xfrm>
            <a:off x="3307080" y="2260944"/>
            <a:ext cx="1097280"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가</a:t>
            </a:r>
            <a:r>
              <a:rPr kumimoji="1" lang="ko-KR" altLang="en-US" kern="0" dirty="0">
                <a:solidFill>
                  <a:schemeClr val="bg1"/>
                </a:solidFill>
                <a:latin typeface="맑은 고딕" panose="020B0503020000020004" pitchFamily="50" charset="-127"/>
              </a:rPr>
              <a:t>격</a:t>
            </a:r>
          </a:p>
        </p:txBody>
      </p:sp>
      <p:sp>
        <p:nvSpPr>
          <p:cNvPr id="25" name="Rectangle 37"/>
          <p:cNvSpPr>
            <a:spLocks noChangeArrowheads="1"/>
          </p:cNvSpPr>
          <p:nvPr/>
        </p:nvSpPr>
        <p:spPr bwMode="auto">
          <a:xfrm>
            <a:off x="8303028" y="2294310"/>
            <a:ext cx="1143317" cy="320439"/>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남은 시간</a:t>
            </a:r>
            <a:endParaRPr kumimoji="1" lang="ko-KR" altLang="en-US" kern="0" dirty="0">
              <a:solidFill>
                <a:schemeClr val="bg1"/>
              </a:solidFill>
              <a:latin typeface="맑은 고딕" panose="020B0503020000020004" pitchFamily="50" charset="-127"/>
            </a:endParaRPr>
          </a:p>
        </p:txBody>
      </p:sp>
      <p:sp>
        <p:nvSpPr>
          <p:cNvPr id="26" name="Rectangle 37"/>
          <p:cNvSpPr>
            <a:spLocks noChangeArrowheads="1"/>
          </p:cNvSpPr>
          <p:nvPr/>
        </p:nvSpPr>
        <p:spPr bwMode="auto">
          <a:xfrm>
            <a:off x="479048" y="4480560"/>
            <a:ext cx="1097280"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46% </a:t>
            </a:r>
            <a:r>
              <a:rPr kumimoji="1" lang="ko-KR" altLang="en-US" kern="0" dirty="0" smtClean="0">
                <a:solidFill>
                  <a:schemeClr val="bg1"/>
                </a:solidFill>
                <a:latin typeface="맑은 고딕" panose="020B0503020000020004" pitchFamily="50" charset="-127"/>
              </a:rPr>
              <a:t>마감</a:t>
            </a:r>
            <a:endParaRPr kumimoji="1" lang="ko-KR" altLang="en-US" kern="0" dirty="0">
              <a:solidFill>
                <a:schemeClr val="bg1"/>
              </a:solidFill>
              <a:latin typeface="맑은 고딕" panose="020B0503020000020004" pitchFamily="50" charset="-127"/>
            </a:endParaRPr>
          </a:p>
        </p:txBody>
      </p:sp>
    </p:spTree>
    <p:extLst>
      <p:ext uri="{BB962C8B-B14F-4D97-AF65-F5344CB8AC3E}">
        <p14:creationId xmlns:p14="http://schemas.microsoft.com/office/powerpoint/2010/main" val="227782191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1.4 </a:t>
            </a:r>
            <a:r>
              <a:rPr lang="ko-KR" altLang="en-US" dirty="0" smtClean="0">
                <a:solidFill>
                  <a:schemeClr val="tx2"/>
                </a:solidFill>
                <a:latin typeface="맑은 고딕" pitchFamily="50" charset="-127"/>
              </a:rPr>
              <a:t>공동구매 진행 중</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455920" y="157096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461760" y="1575125"/>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153400" y="1575125"/>
            <a:ext cx="131095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지갑</a:t>
            </a:r>
            <a:r>
              <a:rPr kumimoji="0" lang="en-US" altLang="ko-KR" sz="1400" dirty="0" smtClean="0">
                <a:solidFill>
                  <a:schemeClr val="bg1"/>
                </a:solidFill>
              </a:rPr>
              <a:t>(</a:t>
            </a:r>
            <a:r>
              <a:rPr kumimoji="0" lang="ko-KR" altLang="en-US" sz="1400" dirty="0" err="1" smtClean="0">
                <a:solidFill>
                  <a:schemeClr val="bg1"/>
                </a:solidFill>
              </a:rPr>
              <a:t>내정보</a:t>
            </a:r>
            <a:r>
              <a:rPr kumimoji="0" lang="en-US" altLang="ko-KR" sz="1400" dirty="0" smtClean="0">
                <a:solidFill>
                  <a:schemeClr val="bg1"/>
                </a:solidFill>
              </a:rPr>
              <a:t>)</a:t>
            </a:r>
          </a:p>
        </p:txBody>
      </p:sp>
      <p:sp>
        <p:nvSpPr>
          <p:cNvPr id="16" name="Rectangle 37"/>
          <p:cNvSpPr>
            <a:spLocks noChangeArrowheads="1"/>
          </p:cNvSpPr>
          <p:nvPr/>
        </p:nvSpPr>
        <p:spPr bwMode="auto">
          <a:xfrm>
            <a:off x="7467600" y="1566812"/>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sp>
        <p:nvSpPr>
          <p:cNvPr id="10" name="Rectangle 2"/>
          <p:cNvSpPr txBox="1">
            <a:spLocks noChangeArrowheads="1"/>
          </p:cNvSpPr>
          <p:nvPr/>
        </p:nvSpPr>
        <p:spPr bwMode="auto">
          <a:xfrm>
            <a:off x="296863" y="48280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공동명의 구매에 참여하기 위해 특정 </a:t>
            </a:r>
            <a:r>
              <a:rPr lang="en-US" altLang="ko-KR" sz="1800" b="0" kern="0" dirty="0" smtClean="0">
                <a:latin typeface="맑은 고딕" panose="020B0503020000020004" pitchFamily="50" charset="-127"/>
              </a:rPr>
              <a:t>NFT</a:t>
            </a:r>
            <a:r>
              <a:rPr lang="ko-KR" altLang="en-US" sz="1800" b="0" kern="0" dirty="0" smtClean="0">
                <a:latin typeface="맑은 고딕" panose="020B0503020000020004" pitchFamily="50" charset="-127"/>
              </a:rPr>
              <a:t>를 클릭했을 때 예시</a:t>
            </a:r>
            <a:endParaRPr lang="ko-KR" altLang="en-US" sz="1800" b="0" kern="0" dirty="0">
              <a:latin typeface="맑은 고딕" panose="020B0503020000020004" pitchFamily="50" charset="-127"/>
            </a:endParaRPr>
          </a:p>
        </p:txBody>
      </p:sp>
      <p:pic>
        <p:nvPicPr>
          <p:cNvPr id="942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2064173"/>
            <a:ext cx="7619365" cy="41372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37"/>
          <p:cNvSpPr>
            <a:spLocks noChangeArrowheads="1"/>
          </p:cNvSpPr>
          <p:nvPr/>
        </p:nvSpPr>
        <p:spPr bwMode="auto">
          <a:xfrm>
            <a:off x="4497295" y="3291840"/>
            <a:ext cx="3153185" cy="320040"/>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현재 지원자 </a:t>
            </a:r>
            <a:r>
              <a:rPr kumimoji="1" lang="en-US" altLang="ko-KR" kern="0" dirty="0" smtClean="0">
                <a:solidFill>
                  <a:schemeClr val="bg1"/>
                </a:solidFill>
                <a:latin typeface="맑은 고딕" panose="020B0503020000020004" pitchFamily="50" charset="-127"/>
              </a:rPr>
              <a:t>5</a:t>
            </a:r>
            <a:r>
              <a:rPr kumimoji="1" lang="ko-KR" altLang="en-US" kern="0" dirty="0" smtClean="0">
                <a:solidFill>
                  <a:schemeClr val="bg1"/>
                </a:solidFill>
                <a:latin typeface="맑은 고딕" panose="020B0503020000020004" pitchFamily="50" charset="-127"/>
              </a:rPr>
              <a:t>명 </a:t>
            </a:r>
            <a:r>
              <a:rPr kumimoji="1" lang="en-US" altLang="ko-KR" kern="0" dirty="0" smtClean="0">
                <a:solidFill>
                  <a:schemeClr val="bg1"/>
                </a:solidFill>
                <a:latin typeface="맑은 고딕" panose="020B0503020000020004" pitchFamily="50" charset="-127"/>
              </a:rPr>
              <a:t>(</a:t>
            </a:r>
            <a:r>
              <a:rPr kumimoji="1" lang="ko-KR" altLang="en-US" kern="0" dirty="0" smtClean="0">
                <a:solidFill>
                  <a:schemeClr val="bg1"/>
                </a:solidFill>
                <a:latin typeface="맑은 고딕" panose="020B0503020000020004" pitchFamily="50" charset="-127"/>
              </a:rPr>
              <a:t>혹은 </a:t>
            </a:r>
            <a:r>
              <a:rPr kumimoji="1" lang="en-US" altLang="ko-KR" kern="0" dirty="0" smtClean="0">
                <a:solidFill>
                  <a:schemeClr val="bg1"/>
                </a:solidFill>
                <a:latin typeface="맑은 고딕" panose="020B0503020000020004" pitchFamily="50" charset="-127"/>
              </a:rPr>
              <a:t>3/5 </a:t>
            </a:r>
            <a:r>
              <a:rPr kumimoji="1" lang="ko-KR" altLang="en-US" kern="0" dirty="0" smtClean="0">
                <a:solidFill>
                  <a:schemeClr val="bg1"/>
                </a:solidFill>
                <a:latin typeface="맑은 고딕" panose="020B0503020000020004" pitchFamily="50" charset="-127"/>
              </a:rPr>
              <a:t>등</a:t>
            </a:r>
            <a:r>
              <a:rPr kumimoji="1" lang="en-US" altLang="ko-KR" kern="0" dirty="0" smtClean="0">
                <a:solidFill>
                  <a:schemeClr val="bg1"/>
                </a:solidFill>
                <a:latin typeface="맑은 고딕" panose="020B0503020000020004" pitchFamily="50" charset="-127"/>
              </a:rPr>
              <a:t>)</a:t>
            </a:r>
            <a:endParaRPr kumimoji="1" lang="ko-KR" altLang="en-US" kern="0" dirty="0">
              <a:solidFill>
                <a:schemeClr val="bg1"/>
              </a:solidFill>
              <a:latin typeface="맑은 고딕" panose="020B0503020000020004" pitchFamily="50" charset="-127"/>
            </a:endParaRPr>
          </a:p>
        </p:txBody>
      </p:sp>
      <p:sp>
        <p:nvSpPr>
          <p:cNvPr id="18" name="Rectangle 37"/>
          <p:cNvSpPr>
            <a:spLocks noChangeArrowheads="1"/>
          </p:cNvSpPr>
          <p:nvPr/>
        </p:nvSpPr>
        <p:spPr bwMode="auto">
          <a:xfrm>
            <a:off x="4497295" y="3703320"/>
            <a:ext cx="3153185" cy="320040"/>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필요한 </a:t>
            </a:r>
            <a:r>
              <a:rPr kumimoji="1" lang="en-US" altLang="ko-KR" kern="0" dirty="0" smtClean="0">
                <a:solidFill>
                  <a:schemeClr val="bg1"/>
                </a:solidFill>
                <a:latin typeface="맑은 고딕" panose="020B0503020000020004" pitchFamily="50" charset="-127"/>
              </a:rPr>
              <a:t>3.488 ETH </a:t>
            </a:r>
            <a:r>
              <a:rPr kumimoji="1" lang="ko-KR" altLang="en-US" kern="0" dirty="0" smtClean="0">
                <a:solidFill>
                  <a:schemeClr val="bg1"/>
                </a:solidFill>
                <a:latin typeface="맑은 고딕" panose="020B0503020000020004" pitchFamily="50" charset="-127"/>
              </a:rPr>
              <a:t>중 </a:t>
            </a:r>
            <a:r>
              <a:rPr kumimoji="1" lang="en-US" altLang="ko-KR" kern="0" dirty="0" smtClean="0">
                <a:solidFill>
                  <a:schemeClr val="bg1"/>
                </a:solidFill>
                <a:latin typeface="맑은 고딕" panose="020B0503020000020004" pitchFamily="50" charset="-127"/>
              </a:rPr>
              <a:t>2.58 ETH </a:t>
            </a:r>
            <a:r>
              <a:rPr kumimoji="1" lang="ko-KR" altLang="en-US" kern="0" dirty="0" smtClean="0">
                <a:solidFill>
                  <a:schemeClr val="bg1"/>
                </a:solidFill>
                <a:latin typeface="맑은 고딕" panose="020B0503020000020004" pitchFamily="50" charset="-127"/>
              </a:rPr>
              <a:t>모</a:t>
            </a:r>
            <a:r>
              <a:rPr kumimoji="1" lang="ko-KR" altLang="en-US" kern="0" dirty="0">
                <a:solidFill>
                  <a:schemeClr val="bg1"/>
                </a:solidFill>
                <a:latin typeface="맑은 고딕" panose="020B0503020000020004" pitchFamily="50" charset="-127"/>
              </a:rPr>
              <a:t>금</a:t>
            </a:r>
            <a:r>
              <a:rPr kumimoji="1" lang="ko-KR" altLang="en-US" kern="0" dirty="0" smtClean="0">
                <a:solidFill>
                  <a:schemeClr val="bg1"/>
                </a:solidFill>
                <a:latin typeface="맑은 고딕" panose="020B0503020000020004" pitchFamily="50" charset="-127"/>
              </a:rPr>
              <a:t> </a:t>
            </a:r>
            <a:endParaRPr kumimoji="1" lang="ko-KR" altLang="en-US" kern="0" dirty="0">
              <a:solidFill>
                <a:schemeClr val="bg1"/>
              </a:solidFill>
              <a:latin typeface="맑은 고딕" panose="020B0503020000020004" pitchFamily="50" charset="-127"/>
            </a:endParaRPr>
          </a:p>
        </p:txBody>
      </p:sp>
      <p:sp>
        <p:nvSpPr>
          <p:cNvPr id="19" name="Rectangle 37"/>
          <p:cNvSpPr>
            <a:spLocks noChangeArrowheads="1"/>
          </p:cNvSpPr>
          <p:nvPr/>
        </p:nvSpPr>
        <p:spPr bwMode="auto">
          <a:xfrm>
            <a:off x="4483440" y="4617720"/>
            <a:ext cx="1540589" cy="320040"/>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참여 요청</a:t>
            </a:r>
            <a:endParaRPr kumimoji="1" lang="ko-KR" altLang="en-US" kern="0" dirty="0">
              <a:solidFill>
                <a:schemeClr val="bg1"/>
              </a:solidFill>
              <a:latin typeface="맑은 고딕" panose="020B0503020000020004" pitchFamily="50" charset="-127"/>
            </a:endParaRPr>
          </a:p>
        </p:txBody>
      </p:sp>
      <p:sp>
        <p:nvSpPr>
          <p:cNvPr id="15" name="Rectangle 37"/>
          <p:cNvSpPr>
            <a:spLocks noChangeArrowheads="1"/>
          </p:cNvSpPr>
          <p:nvPr/>
        </p:nvSpPr>
        <p:spPr bwMode="auto">
          <a:xfrm>
            <a:off x="6073887" y="4617720"/>
            <a:ext cx="1540589" cy="320040"/>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수량 기입 </a:t>
            </a:r>
            <a:r>
              <a:rPr kumimoji="1" lang="en-US" altLang="ko-KR" kern="0" dirty="0" smtClean="0">
                <a:solidFill>
                  <a:schemeClr val="bg1"/>
                </a:solidFill>
                <a:latin typeface="맑은 고딕" panose="020B0503020000020004" pitchFamily="50" charset="-127"/>
              </a:rPr>
              <a:t>(opt)</a:t>
            </a:r>
            <a:endParaRPr kumimoji="1" lang="ko-KR" altLang="en-US" kern="0" dirty="0">
              <a:solidFill>
                <a:schemeClr val="bg1"/>
              </a:solidFill>
              <a:latin typeface="맑은 고딕" panose="020B0503020000020004" pitchFamily="50" charset="-127"/>
            </a:endParaRPr>
          </a:p>
        </p:txBody>
      </p:sp>
      <p:sp>
        <p:nvSpPr>
          <p:cNvPr id="20" name="Rectangle 37"/>
          <p:cNvSpPr>
            <a:spLocks noChangeArrowheads="1"/>
          </p:cNvSpPr>
          <p:nvPr/>
        </p:nvSpPr>
        <p:spPr bwMode="auto">
          <a:xfrm>
            <a:off x="4483439" y="5067992"/>
            <a:ext cx="3441361" cy="921328"/>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규</a:t>
            </a:r>
            <a:r>
              <a:rPr kumimoji="1" lang="ko-KR" altLang="en-US" kern="0" dirty="0">
                <a:solidFill>
                  <a:schemeClr val="bg1"/>
                </a:solidFill>
                <a:latin typeface="맑은 고딕" panose="020B0503020000020004" pitchFamily="50" charset="-127"/>
              </a:rPr>
              <a:t>정</a:t>
            </a:r>
            <a:r>
              <a:rPr kumimoji="1" lang="en-US" altLang="ko-KR" kern="0" dirty="0" smtClean="0">
                <a:solidFill>
                  <a:schemeClr val="bg1"/>
                </a:solidFill>
                <a:latin typeface="맑은 고딕" panose="020B0503020000020004" pitchFamily="50" charset="-127"/>
              </a:rPr>
              <a:t>: 2/3 + 1</a:t>
            </a:r>
            <a:r>
              <a:rPr kumimoji="1" lang="ko-KR" altLang="en-US" kern="0" dirty="0" smtClean="0">
                <a:solidFill>
                  <a:schemeClr val="bg1"/>
                </a:solidFill>
                <a:latin typeface="맑은 고딕" panose="020B0503020000020004" pitchFamily="50" charset="-127"/>
              </a:rPr>
              <a:t>명 동의 시 매도 가능</a:t>
            </a:r>
            <a:endParaRPr kumimoji="1" lang="en-US" altLang="ko-KR" kern="0" dirty="0" smtClean="0">
              <a:solidFill>
                <a:schemeClr val="bg1"/>
              </a:solidFill>
              <a:latin typeface="맑은 고딕" panose="020B0503020000020004" pitchFamily="50" charset="-127"/>
            </a:endParaRPr>
          </a:p>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매도 시 수익금 분배 방식</a:t>
            </a:r>
            <a:endParaRPr kumimoji="1" lang="en-US" altLang="ko-KR" kern="0" dirty="0" smtClean="0">
              <a:solidFill>
                <a:schemeClr val="bg1"/>
              </a:solidFill>
              <a:latin typeface="맑은 고딕" panose="020B0503020000020004" pitchFamily="50" charset="-127"/>
            </a:endParaRPr>
          </a:p>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주기적인 투표 여부 등</a:t>
            </a:r>
            <a:endParaRPr kumimoji="1" lang="en-US" altLang="ko-KR" kern="0" dirty="0" smtClean="0">
              <a:solidFill>
                <a:schemeClr val="bg1"/>
              </a:solidFill>
              <a:latin typeface="맑은 고딕" panose="020B0503020000020004" pitchFamily="50" charset="-127"/>
            </a:endParaRPr>
          </a:p>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a:t>
            </a:r>
            <a:r>
              <a:rPr kumimoji="1" lang="ko-KR" altLang="en-US" kern="0" dirty="0" smtClean="0">
                <a:solidFill>
                  <a:schemeClr val="bg1"/>
                </a:solidFill>
                <a:latin typeface="맑은 고딕" panose="020B0503020000020004" pitchFamily="50" charset="-127"/>
              </a:rPr>
              <a:t>최초 공동구매 요청자가 설정</a:t>
            </a:r>
            <a:r>
              <a:rPr kumimoji="1" lang="en-US" altLang="ko-KR" kern="0" dirty="0" smtClean="0">
                <a:solidFill>
                  <a:schemeClr val="bg1"/>
                </a:solidFill>
                <a:latin typeface="맑은 고딕" panose="020B0503020000020004" pitchFamily="50" charset="-127"/>
              </a:rPr>
              <a:t>)</a:t>
            </a:r>
            <a:endParaRPr kumimoji="1" lang="ko-KR" altLang="en-US" kern="0" dirty="0">
              <a:solidFill>
                <a:schemeClr val="bg1"/>
              </a:solidFill>
              <a:latin typeface="맑은 고딕" panose="020B0503020000020004" pitchFamily="50" charset="-127"/>
            </a:endParaRPr>
          </a:p>
        </p:txBody>
      </p:sp>
      <p:pic>
        <p:nvPicPr>
          <p:cNvPr id="21" name="Picture 1" descr="C:\Users\jihon\Desktop\참고PPT\01\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546030"/>
            <a:ext cx="2109787" cy="51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279872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1.4 </a:t>
            </a:r>
            <a:r>
              <a:rPr lang="ko-KR" altLang="en-US" dirty="0" smtClean="0">
                <a:solidFill>
                  <a:schemeClr val="tx2"/>
                </a:solidFill>
                <a:latin typeface="맑은 고딕" pitchFamily="50" charset="-127"/>
              </a:rPr>
              <a:t>공동구매 진행 중</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455920" y="157096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461760" y="1575125"/>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153400" y="1575125"/>
            <a:ext cx="131095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지갑</a:t>
            </a:r>
            <a:r>
              <a:rPr kumimoji="0" lang="en-US" altLang="ko-KR" sz="1400" dirty="0" smtClean="0">
                <a:solidFill>
                  <a:schemeClr val="bg1"/>
                </a:solidFill>
              </a:rPr>
              <a:t>(</a:t>
            </a:r>
            <a:r>
              <a:rPr kumimoji="0" lang="ko-KR" altLang="en-US" sz="1400" dirty="0" err="1" smtClean="0">
                <a:solidFill>
                  <a:schemeClr val="bg1"/>
                </a:solidFill>
              </a:rPr>
              <a:t>내정보</a:t>
            </a:r>
            <a:r>
              <a:rPr kumimoji="0" lang="en-US" altLang="ko-KR" sz="1400" dirty="0" smtClean="0">
                <a:solidFill>
                  <a:schemeClr val="bg1"/>
                </a:solidFill>
              </a:rPr>
              <a:t>)</a:t>
            </a:r>
          </a:p>
        </p:txBody>
      </p:sp>
      <p:sp>
        <p:nvSpPr>
          <p:cNvPr id="16" name="Rectangle 37"/>
          <p:cNvSpPr>
            <a:spLocks noChangeArrowheads="1"/>
          </p:cNvSpPr>
          <p:nvPr/>
        </p:nvSpPr>
        <p:spPr bwMode="auto">
          <a:xfrm>
            <a:off x="7467600" y="1566812"/>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sp>
        <p:nvSpPr>
          <p:cNvPr id="10" name="Rectangle 2"/>
          <p:cNvSpPr txBox="1">
            <a:spLocks noChangeArrowheads="1"/>
          </p:cNvSpPr>
          <p:nvPr/>
        </p:nvSpPr>
        <p:spPr bwMode="auto">
          <a:xfrm>
            <a:off x="296863" y="48280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공동명의 구매를 위한 모금이 </a:t>
            </a:r>
            <a:r>
              <a:rPr lang="en-US" altLang="ko-KR" sz="1800" b="0" kern="0" dirty="0" smtClean="0">
                <a:latin typeface="맑은 고딕" panose="020B0503020000020004" pitchFamily="50" charset="-127"/>
              </a:rPr>
              <a:t>100% </a:t>
            </a:r>
            <a:r>
              <a:rPr lang="ko-KR" altLang="en-US" sz="1800" b="0" kern="0" dirty="0" smtClean="0">
                <a:latin typeface="맑은 고딕" panose="020B0503020000020004" pitchFamily="50" charset="-127"/>
              </a:rPr>
              <a:t>완료된 경우</a:t>
            </a:r>
            <a:r>
              <a:rPr lang="en-US" altLang="ko-KR" sz="1800" b="0" kern="0" dirty="0" smtClean="0">
                <a:latin typeface="맑은 고딕" panose="020B0503020000020004" pitchFamily="50" charset="-127"/>
              </a:rPr>
              <a:t>, NFT </a:t>
            </a:r>
            <a:r>
              <a:rPr lang="ko-KR" altLang="en-US" sz="1800" b="0" kern="0" dirty="0" smtClean="0">
                <a:latin typeface="맑은 고딕" panose="020B0503020000020004" pitchFamily="50" charset="-127"/>
              </a:rPr>
              <a:t>구매가 수행됨</a:t>
            </a:r>
            <a:endParaRPr lang="en-US" altLang="ko-KR" sz="1800" b="0" kern="0" dirty="0" smtClean="0">
              <a:latin typeface="맑은 고딕" panose="020B0503020000020004" pitchFamily="50" charset="-127"/>
            </a:endParaRPr>
          </a:p>
          <a:p>
            <a:pPr>
              <a:defRPr/>
            </a:pP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가격이 변동될 수 있는 문제</a:t>
            </a:r>
            <a:r>
              <a:rPr lang="en-US" altLang="ko-KR" sz="1800" b="0" kern="0" dirty="0" smtClean="0">
                <a:latin typeface="맑은 고딕" panose="020B0503020000020004" pitchFamily="50" charset="-127"/>
              </a:rPr>
              <a:t>?</a:t>
            </a:r>
            <a:endParaRPr lang="ko-KR" altLang="en-US" sz="1800" b="0" kern="0" dirty="0">
              <a:latin typeface="맑은 고딕" panose="020B0503020000020004" pitchFamily="50" charset="-127"/>
            </a:endParaRPr>
          </a:p>
        </p:txBody>
      </p:sp>
      <p:sp>
        <p:nvSpPr>
          <p:cNvPr id="11" name="Rectangle 2"/>
          <p:cNvSpPr txBox="1">
            <a:spLocks noChangeArrowheads="1"/>
          </p:cNvSpPr>
          <p:nvPr/>
        </p:nvSpPr>
        <p:spPr bwMode="auto">
          <a:xfrm>
            <a:off x="296863" y="2240280"/>
            <a:ext cx="9312275" cy="3977640"/>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구매 과정</a:t>
            </a:r>
            <a:endParaRPr lang="en-US" altLang="ko-KR" sz="1800" b="0" kern="0" dirty="0" smtClean="0">
              <a:latin typeface="맑은 고딕" panose="020B0503020000020004" pitchFamily="50" charset="-127"/>
            </a:endParaRPr>
          </a:p>
          <a:p>
            <a:pPr marL="342900" indent="-342900">
              <a:buAutoNum type="arabicPeriod"/>
              <a:defRPr/>
            </a:pPr>
            <a:r>
              <a:rPr lang="ko-KR" altLang="en-US" sz="1800" b="0" kern="0" dirty="0" smtClean="0">
                <a:latin typeface="맑은 고딕" panose="020B0503020000020004" pitchFamily="50" charset="-127"/>
              </a:rPr>
              <a:t>구매를 위한 모금이 </a:t>
            </a:r>
            <a:r>
              <a:rPr lang="en-US" altLang="ko-KR" sz="1800" b="0" kern="0" dirty="0" smtClean="0">
                <a:latin typeface="맑은 고딕" panose="020B0503020000020004" pitchFamily="50" charset="-127"/>
              </a:rPr>
              <a:t>100% </a:t>
            </a:r>
            <a:r>
              <a:rPr lang="ko-KR" altLang="en-US" sz="1800" b="0" kern="0" dirty="0" smtClean="0">
                <a:latin typeface="맑은 고딕" panose="020B0503020000020004" pitchFamily="50" charset="-127"/>
              </a:rPr>
              <a:t>완료되면</a:t>
            </a:r>
            <a:endParaRPr lang="en-US" altLang="ko-KR" sz="1800" b="0" kern="0" dirty="0" smtClean="0">
              <a:latin typeface="맑은 고딕" panose="020B0503020000020004" pitchFamily="50" charset="-127"/>
            </a:endParaRPr>
          </a:p>
          <a:p>
            <a:pPr marL="342900" indent="-342900">
              <a:buAutoNum type="arabicPeriod"/>
              <a:defRPr/>
            </a:pPr>
            <a:r>
              <a:rPr lang="ko-KR" altLang="en-US" sz="1800" b="0" kern="0" dirty="0" smtClean="0">
                <a:latin typeface="맑은 고딕" panose="020B0503020000020004" pitchFamily="50" charset="-127"/>
              </a:rPr>
              <a:t>최초 제안자에게 </a:t>
            </a:r>
            <a:r>
              <a:rPr lang="ko-KR" altLang="en-US" sz="1800" b="0" kern="0" dirty="0" err="1" smtClean="0">
                <a:latin typeface="맑은 고딕" panose="020B0503020000020004" pitchFamily="50" charset="-127"/>
              </a:rPr>
              <a:t>알람</a:t>
            </a:r>
            <a:endParaRPr lang="en-US" altLang="ko-KR" sz="1800" b="0" kern="0" dirty="0" smtClean="0">
              <a:latin typeface="맑은 고딕" panose="020B0503020000020004" pitchFamily="50" charset="-127"/>
            </a:endParaRPr>
          </a:p>
          <a:p>
            <a:pPr marL="342900" indent="-342900">
              <a:buAutoNum type="arabicPeriod"/>
              <a:defRPr/>
            </a:pPr>
            <a:r>
              <a:rPr lang="ko-KR" altLang="en-US" sz="1800" b="0" kern="0" dirty="0" smtClean="0">
                <a:latin typeface="맑은 고딕" panose="020B0503020000020004" pitchFamily="50" charset="-127"/>
              </a:rPr>
              <a:t>최초 제안자는 구매 참여자들의 최종 </a:t>
            </a:r>
            <a:r>
              <a:rPr lang="en-US" altLang="ko-KR" sz="1800" b="0" kern="0" dirty="0" smtClean="0">
                <a:latin typeface="맑은 고딕" panose="020B0503020000020004" pitchFamily="50" charset="-127"/>
              </a:rPr>
              <a:t>confirm </a:t>
            </a:r>
            <a:r>
              <a:rPr lang="ko-KR" altLang="en-US" sz="1800" b="0" kern="0" dirty="0" smtClean="0">
                <a:latin typeface="맑은 고딕" panose="020B0503020000020004" pitchFamily="50" charset="-127"/>
              </a:rPr>
              <a:t>을 얻고 </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어떤 절차로</a:t>
            </a:r>
            <a:r>
              <a:rPr lang="en-US" altLang="ko-KR" sz="1800" b="0" kern="0" dirty="0" smtClean="0">
                <a:latin typeface="맑은 고딕" panose="020B0503020000020004" pitchFamily="50" charset="-127"/>
              </a:rPr>
              <a:t>?)</a:t>
            </a:r>
          </a:p>
          <a:p>
            <a:pPr marL="342900" indent="-342900">
              <a:buAutoNum type="arabicPeriod"/>
              <a:defRPr/>
            </a:pPr>
            <a:r>
              <a:rPr lang="ko-KR" altLang="en-US" sz="1800" b="0" kern="0" dirty="0" smtClean="0">
                <a:latin typeface="맑은 고딕" panose="020B0503020000020004" pitchFamily="50" charset="-127"/>
              </a:rPr>
              <a:t>직접 구매 </a:t>
            </a:r>
            <a:r>
              <a:rPr lang="en-US" altLang="ko-KR" sz="1800" b="0" kern="0" dirty="0" smtClean="0">
                <a:latin typeface="맑은 고딕" panose="020B0503020000020004" pitchFamily="50" charset="-127"/>
              </a:rPr>
              <a:t>or </a:t>
            </a:r>
            <a:r>
              <a:rPr lang="ko-KR" altLang="en-US" sz="1800" b="0" kern="0" dirty="0" smtClean="0">
                <a:latin typeface="맑은 고딕" panose="020B0503020000020004" pitchFamily="50" charset="-127"/>
              </a:rPr>
              <a:t>미리 정해진 코드에 의해 수행 </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의논 필요</a:t>
            </a:r>
            <a:r>
              <a:rPr lang="en-US" altLang="ko-KR" sz="1800" b="0" kern="0" dirty="0" smtClean="0">
                <a:latin typeface="맑은 고딕" panose="020B0503020000020004" pitchFamily="50" charset="-127"/>
              </a:rPr>
              <a:t>)</a:t>
            </a:r>
          </a:p>
          <a:p>
            <a:pPr marL="342900" indent="-342900">
              <a:buAutoNum type="arabicPeriod"/>
              <a:defRPr/>
            </a:pPr>
            <a:r>
              <a:rPr lang="ko-KR" altLang="en-US" sz="1800" b="0" kern="0" dirty="0" smtClean="0">
                <a:latin typeface="맑은 고딕" panose="020B0503020000020004" pitchFamily="50" charset="-127"/>
              </a:rPr>
              <a:t>구매 이벤트 발생</a:t>
            </a:r>
            <a:endParaRPr lang="en-US" altLang="ko-KR" sz="1800" b="0" kern="0" dirty="0" smtClean="0">
              <a:latin typeface="맑은 고딕" panose="020B0503020000020004" pitchFamily="50" charset="-127"/>
            </a:endParaRPr>
          </a:p>
          <a:p>
            <a:pPr>
              <a:defRPr/>
            </a:pPr>
            <a:endParaRPr lang="en-US" altLang="ko-KR" sz="1800" b="0" kern="0" dirty="0" smtClean="0">
              <a:latin typeface="맑은 고딕" panose="020B0503020000020004" pitchFamily="50" charset="-127"/>
            </a:endParaRPr>
          </a:p>
          <a:p>
            <a:pPr>
              <a:defRPr/>
            </a:pPr>
            <a:r>
              <a:rPr lang="ko-KR" altLang="en-US" sz="1800" b="0" kern="0" dirty="0" smtClean="0">
                <a:latin typeface="맑은 고딕" panose="020B0503020000020004" pitchFamily="50" charset="-127"/>
              </a:rPr>
              <a:t>구매 절차를 </a:t>
            </a:r>
            <a:r>
              <a:rPr lang="ko-KR" altLang="en-US" sz="1800" b="0" kern="0" dirty="0" err="1" smtClean="0">
                <a:latin typeface="맑은 고딕" panose="020B0503020000020004" pitchFamily="50" charset="-127"/>
              </a:rPr>
              <a:t>코딩하는</a:t>
            </a:r>
            <a:r>
              <a:rPr lang="ko-KR" altLang="en-US" sz="1800" b="0" kern="0" dirty="0" smtClean="0">
                <a:latin typeface="맑은 고딕" panose="020B0503020000020004" pitchFamily="50" charset="-127"/>
              </a:rPr>
              <a:t> 것이 복잡할 것으로 예상</a:t>
            </a:r>
            <a:endParaRPr lang="en-US" altLang="ko-KR" sz="1800" b="0" kern="0" dirty="0" smtClean="0">
              <a:latin typeface="맑은 고딕" panose="020B0503020000020004" pitchFamily="50" charset="-127"/>
            </a:endParaRPr>
          </a:p>
          <a:p>
            <a:pPr>
              <a:defRPr/>
            </a:pPr>
            <a:endParaRPr lang="en-US" altLang="ko-KR" sz="1800" b="0" kern="0" dirty="0">
              <a:latin typeface="맑은 고딕" panose="020B0503020000020004" pitchFamily="50" charset="-127"/>
            </a:endParaRPr>
          </a:p>
          <a:p>
            <a:pPr marL="342900" indent="-342900">
              <a:buAutoNum type="arabicPeriod"/>
              <a:defRPr/>
            </a:pPr>
            <a:r>
              <a:rPr lang="ko-KR" altLang="en-US" sz="1800" b="0" kern="0" dirty="0" smtClean="0">
                <a:latin typeface="맑은 고딕" panose="020B0503020000020004" pitchFamily="50" charset="-127"/>
              </a:rPr>
              <a:t>구매 참여자들</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이하 그룹</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을 위한 별도의 그룹 지갑주소를 발행</a:t>
            </a:r>
            <a:r>
              <a:rPr lang="en-US" altLang="ko-KR" sz="1800" b="0" kern="0" dirty="0" smtClean="0">
                <a:latin typeface="맑은 고딕" panose="020B0503020000020004" pitchFamily="50" charset="-127"/>
              </a:rPr>
              <a:t>(instance)</a:t>
            </a:r>
          </a:p>
          <a:p>
            <a:pPr marL="342900" indent="-342900">
              <a:buAutoNum type="arabicPeriod"/>
              <a:defRPr/>
            </a:pPr>
            <a:r>
              <a:rPr lang="ko-KR" altLang="en-US" sz="1800" b="0" kern="0" dirty="0" smtClean="0">
                <a:latin typeface="맑은 고딕" panose="020B0503020000020004" pitchFamily="50" charset="-127"/>
              </a:rPr>
              <a:t>해당 지갑주소를 통해 서버에서 구매 진행</a:t>
            </a:r>
            <a:r>
              <a:rPr lang="en-US" altLang="ko-KR" sz="1800" b="0" kern="0" dirty="0" smtClean="0">
                <a:latin typeface="맑은 고딕" panose="020B0503020000020004" pitchFamily="50" charset="-127"/>
              </a:rPr>
              <a:t>. NFT</a:t>
            </a:r>
            <a:r>
              <a:rPr lang="ko-KR" altLang="en-US" sz="1800" b="0" kern="0" dirty="0" smtClean="0">
                <a:latin typeface="맑은 고딕" panose="020B0503020000020004" pitchFamily="50" charset="-127"/>
              </a:rPr>
              <a:t>소유권은 기존</a:t>
            </a:r>
            <a:r>
              <a:rPr lang="en-US" altLang="ko-KR" sz="1800" b="0" kern="0" dirty="0" smtClean="0">
                <a:latin typeface="맑은 고딕" panose="020B0503020000020004" pitchFamily="50" charset="-127"/>
              </a:rPr>
              <a:t>NFT</a:t>
            </a:r>
            <a:r>
              <a:rPr lang="ko-KR" altLang="en-US" sz="1800" b="0" kern="0" dirty="0" smtClean="0">
                <a:latin typeface="맑은 고딕" panose="020B0503020000020004" pitchFamily="50" charset="-127"/>
              </a:rPr>
              <a:t>소유자 </a:t>
            </a:r>
            <a:r>
              <a:rPr lang="en-US" altLang="ko-KR" sz="1800" b="0" kern="0" dirty="0" smtClean="0">
                <a:latin typeface="맑은 고딕" panose="020B0503020000020004" pitchFamily="50" charset="-127"/>
              </a:rPr>
              <a:t>-&gt; </a:t>
            </a:r>
            <a:r>
              <a:rPr lang="ko-KR" altLang="en-US" sz="1800" b="0" kern="0" dirty="0" smtClean="0">
                <a:latin typeface="맑은 고딕" panose="020B0503020000020004" pitchFamily="50" charset="-127"/>
              </a:rPr>
              <a:t>그룹 지갑주소</a:t>
            </a:r>
            <a:endParaRPr lang="en-US" altLang="ko-KR" sz="1800" b="0" kern="0" dirty="0" smtClean="0">
              <a:latin typeface="맑은 고딕" panose="020B0503020000020004" pitchFamily="50" charset="-127"/>
            </a:endParaRPr>
          </a:p>
          <a:p>
            <a:pPr marL="342900" indent="-342900">
              <a:buAutoNum type="arabicPeriod"/>
              <a:defRPr/>
            </a:pPr>
            <a:r>
              <a:rPr lang="ko-KR" altLang="en-US" sz="1800" b="0" kern="0" dirty="0" smtClean="0">
                <a:latin typeface="맑은 고딕" panose="020B0503020000020004" pitchFamily="50" charset="-127"/>
              </a:rPr>
              <a:t>그룹 지갑주소는 서버에서 관리 </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지갑</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참여자들 간 관련 정보는 </a:t>
            </a:r>
            <a:r>
              <a:rPr lang="en-US" altLang="ko-KR" sz="1800" b="0" kern="0" dirty="0" smtClean="0">
                <a:latin typeface="맑은 고딕" panose="020B0503020000020004" pitchFamily="50" charset="-127"/>
              </a:rPr>
              <a:t>DB</a:t>
            </a:r>
            <a:r>
              <a:rPr lang="ko-KR" altLang="en-US" sz="1800" b="0" kern="0" dirty="0" smtClean="0">
                <a:latin typeface="맑은 고딕" panose="020B0503020000020004" pitchFamily="50" charset="-127"/>
              </a:rPr>
              <a:t>에 저장</a:t>
            </a:r>
            <a:r>
              <a:rPr lang="en-US" altLang="ko-KR" sz="1800" b="0" kern="0" dirty="0" smtClean="0">
                <a:latin typeface="맑은 고딕" panose="020B0503020000020004" pitchFamily="50" charset="-127"/>
              </a:rPr>
              <a:t>)</a:t>
            </a:r>
          </a:p>
          <a:p>
            <a:pPr marL="342900" indent="-342900">
              <a:buAutoNum type="arabicPeriod"/>
              <a:defRPr/>
            </a:pPr>
            <a:r>
              <a:rPr lang="ko-KR" altLang="en-US" sz="1800" b="0" kern="0" dirty="0" smtClean="0">
                <a:latin typeface="맑은 고딕" panose="020B0503020000020004" pitchFamily="50" charset="-127"/>
              </a:rPr>
              <a:t>해당 정보를 </a:t>
            </a: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로 발행하여 각 </a:t>
            </a:r>
            <a:r>
              <a:rPr lang="ko-KR" altLang="en-US" sz="1800" b="0" kern="0" dirty="0" err="1" smtClean="0">
                <a:latin typeface="맑은 고딕" panose="020B0503020000020004" pitchFamily="50" charset="-127"/>
              </a:rPr>
              <a:t>그룹원들의</a:t>
            </a:r>
            <a:r>
              <a:rPr lang="en-US" altLang="ko-KR" sz="1800" b="0" kern="0" dirty="0">
                <a:latin typeface="맑은 고딕" panose="020B0503020000020004" pitchFamily="50" charset="-127"/>
              </a:rPr>
              <a:t> </a:t>
            </a:r>
            <a:r>
              <a:rPr lang="ko-KR" altLang="en-US" sz="1800" b="0" kern="0" dirty="0" smtClean="0">
                <a:latin typeface="맑은 고딕" panose="020B0503020000020004" pitchFamily="50" charset="-127"/>
              </a:rPr>
              <a:t>지분을 증명</a:t>
            </a:r>
            <a:r>
              <a:rPr lang="en-US" altLang="ko-KR" sz="1800" b="0" kern="0" dirty="0" smtClean="0">
                <a:latin typeface="맑은 고딕" panose="020B0503020000020004" pitchFamily="50" charset="-127"/>
              </a:rPr>
              <a:t>?</a:t>
            </a:r>
            <a:r>
              <a:rPr lang="ko-KR" altLang="en-US" sz="1800" b="0" kern="0" dirty="0">
                <a:latin typeface="맑은 고딕" panose="020B0503020000020004" pitchFamily="50" charset="-127"/>
              </a:rPr>
              <a:t> </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의논 필요</a:t>
            </a:r>
            <a:r>
              <a:rPr lang="en-US" altLang="ko-KR" sz="1800" b="0" kern="0" dirty="0" smtClean="0">
                <a:latin typeface="맑은 고딕" panose="020B0503020000020004" pitchFamily="50" charset="-127"/>
              </a:rPr>
              <a:t>. </a:t>
            </a:r>
            <a:r>
              <a:rPr lang="ko-KR" altLang="en-US" sz="1800" b="0" kern="0" dirty="0" err="1" smtClean="0">
                <a:latin typeface="맑은 고딕" panose="020B0503020000020004" pitchFamily="50" charset="-127"/>
              </a:rPr>
              <a:t>개어렵</a:t>
            </a:r>
            <a:r>
              <a:rPr lang="en-US" altLang="ko-KR" sz="1800" b="0" kern="0" dirty="0" smtClean="0">
                <a:latin typeface="맑은 고딕" panose="020B0503020000020004" pitchFamily="50" charset="-127"/>
              </a:rPr>
              <a:t>..)</a:t>
            </a:r>
          </a:p>
          <a:p>
            <a:pPr marL="342900" indent="-342900">
              <a:buAutoNum type="arabicPeriod"/>
              <a:defRPr/>
            </a:pPr>
            <a:r>
              <a:rPr lang="ko-KR" altLang="en-US" sz="1800" b="0" kern="0" dirty="0" smtClean="0">
                <a:latin typeface="맑은 고딕" panose="020B0503020000020004" pitchFamily="50" charset="-127"/>
              </a:rPr>
              <a:t>서버는 구매 과정에 대한 </a:t>
            </a:r>
            <a:r>
              <a:rPr lang="en-US" altLang="ko-KR" sz="1800" b="0" kern="0" dirty="0" smtClean="0">
                <a:latin typeface="맑은 고딕" panose="020B0503020000020004" pitchFamily="50" charset="-127"/>
              </a:rPr>
              <a:t>fee </a:t>
            </a:r>
            <a:r>
              <a:rPr lang="ko-KR" altLang="en-US" sz="1800" b="0" kern="0" dirty="0" smtClean="0">
                <a:latin typeface="맑은 고딕" panose="020B0503020000020004" pitchFamily="50" charset="-127"/>
              </a:rPr>
              <a:t>로 수익</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토큰 회수 또는 일정</a:t>
            </a:r>
            <a:r>
              <a:rPr lang="en-US" altLang="ko-KR" sz="1800" b="0" kern="0" dirty="0">
                <a:latin typeface="맑은 고딕" panose="020B0503020000020004" pitchFamily="50" charset="-127"/>
              </a:rPr>
              <a:t> </a:t>
            </a:r>
            <a:r>
              <a:rPr lang="en-US" altLang="ko-KR" sz="1800" b="0" kern="0" dirty="0" smtClean="0">
                <a:latin typeface="맑은 고딕" panose="020B0503020000020004" pitchFamily="50" charset="-127"/>
              </a:rPr>
              <a:t>% </a:t>
            </a:r>
            <a:r>
              <a:rPr lang="ko-KR" altLang="en-US" sz="1800" b="0" kern="0" dirty="0" err="1" smtClean="0">
                <a:latin typeface="맑은 고딕" panose="020B0503020000020004" pitchFamily="50" charset="-127"/>
              </a:rPr>
              <a:t>이더</a:t>
            </a:r>
            <a:r>
              <a:rPr lang="ko-KR" altLang="en-US" sz="1800" b="0" kern="0" dirty="0" smtClean="0">
                <a:latin typeface="맑은 고딕" panose="020B0503020000020004" pitchFamily="50" charset="-127"/>
              </a:rPr>
              <a:t> 회수</a:t>
            </a:r>
            <a:r>
              <a:rPr lang="en-US" altLang="ko-KR" sz="1800" b="0" kern="0" dirty="0" smtClean="0">
                <a:latin typeface="맑은 고딕" panose="020B0503020000020004" pitchFamily="50" charset="-127"/>
              </a:rPr>
              <a:t>)</a:t>
            </a:r>
          </a:p>
          <a:p>
            <a:pPr marL="342900" indent="-342900">
              <a:buAutoNum type="arabicPeriod"/>
              <a:defRPr/>
            </a:pPr>
            <a:endParaRPr lang="en-US" altLang="ko-KR" sz="1800" b="0" kern="0" dirty="0">
              <a:latin typeface="맑은 고딕" panose="020B0503020000020004" pitchFamily="50" charset="-127"/>
            </a:endParaRPr>
          </a:p>
          <a:p>
            <a:pPr>
              <a:defRPr/>
            </a:pPr>
            <a:endParaRPr lang="en-US" altLang="ko-KR" sz="1800" b="0" kern="0" dirty="0" smtClean="0">
              <a:latin typeface="맑은 고딕" panose="020B0503020000020004" pitchFamily="50" charset="-127"/>
            </a:endParaRPr>
          </a:p>
        </p:txBody>
      </p:sp>
    </p:spTree>
    <p:extLst>
      <p:ext uri="{BB962C8B-B14F-4D97-AF65-F5344CB8AC3E}">
        <p14:creationId xmlns:p14="http://schemas.microsoft.com/office/powerpoint/2010/main" val="227782191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1.4 </a:t>
            </a:r>
            <a:r>
              <a:rPr lang="ko-KR" altLang="en-US" dirty="0" smtClean="0">
                <a:solidFill>
                  <a:schemeClr val="tx2"/>
                </a:solidFill>
                <a:latin typeface="맑은 고딕" pitchFamily="50" charset="-127"/>
              </a:rPr>
              <a:t>공동구매 완료</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455920" y="157096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461760" y="1575125"/>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153400" y="1575125"/>
            <a:ext cx="131095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지갑</a:t>
            </a:r>
            <a:r>
              <a:rPr kumimoji="0" lang="en-US" altLang="ko-KR" sz="1400" dirty="0" smtClean="0">
                <a:solidFill>
                  <a:schemeClr val="bg1"/>
                </a:solidFill>
              </a:rPr>
              <a:t>(</a:t>
            </a:r>
            <a:r>
              <a:rPr kumimoji="0" lang="ko-KR" altLang="en-US" sz="1400" dirty="0" err="1" smtClean="0">
                <a:solidFill>
                  <a:schemeClr val="bg1"/>
                </a:solidFill>
              </a:rPr>
              <a:t>내정보</a:t>
            </a:r>
            <a:r>
              <a:rPr kumimoji="0" lang="en-US" altLang="ko-KR" sz="1400" dirty="0" smtClean="0">
                <a:solidFill>
                  <a:schemeClr val="bg1"/>
                </a:solidFill>
              </a:rPr>
              <a:t>)</a:t>
            </a:r>
          </a:p>
        </p:txBody>
      </p:sp>
      <p:sp>
        <p:nvSpPr>
          <p:cNvPr id="16" name="Rectangle 37"/>
          <p:cNvSpPr>
            <a:spLocks noChangeArrowheads="1"/>
          </p:cNvSpPr>
          <p:nvPr/>
        </p:nvSpPr>
        <p:spPr bwMode="auto">
          <a:xfrm>
            <a:off x="7467600" y="1566812"/>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sp>
        <p:nvSpPr>
          <p:cNvPr id="10" name="Rectangle 2"/>
          <p:cNvSpPr txBox="1">
            <a:spLocks noChangeArrowheads="1"/>
          </p:cNvSpPr>
          <p:nvPr/>
        </p:nvSpPr>
        <p:spPr bwMode="auto">
          <a:xfrm>
            <a:off x="296863" y="48280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사이트에서 일어나는 모든 구매 내역 확인 가능 </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자신의 구매 내역은 </a:t>
            </a:r>
            <a:r>
              <a:rPr lang="en-US" altLang="ko-KR" sz="1800" b="0" kern="0" dirty="0" err="1" smtClean="0">
                <a:latin typeface="맑은 고딕" panose="020B0503020000020004" pitchFamily="50" charset="-127"/>
              </a:rPr>
              <a:t>Mypage</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에서 확인</a:t>
            </a:r>
            <a:r>
              <a:rPr lang="en-US" altLang="ko-KR" sz="1800" b="0" kern="0" dirty="0" smtClean="0">
                <a:latin typeface="맑은 고딕" panose="020B0503020000020004" pitchFamily="50" charset="-127"/>
              </a:rPr>
              <a:t>)</a:t>
            </a:r>
            <a:endParaRPr lang="ko-KR" altLang="en-US" sz="1800" b="0" kern="0" dirty="0">
              <a:latin typeface="맑은 고딕" panose="020B0503020000020004" pitchFamily="50" charset="-127"/>
            </a:endParaRPr>
          </a:p>
        </p:txBody>
      </p:sp>
      <p:pic>
        <p:nvPicPr>
          <p:cNvPr id="962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2440" y="2606040"/>
            <a:ext cx="7537450" cy="21844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83"/>
          <p:cNvSpPr>
            <a:spLocks noChangeArrowheads="1"/>
          </p:cNvSpPr>
          <p:nvPr/>
        </p:nvSpPr>
        <p:spPr bwMode="gray">
          <a:xfrm>
            <a:off x="6461759" y="2086319"/>
            <a:ext cx="1463041"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smtClean="0">
                <a:solidFill>
                  <a:schemeClr val="bg1"/>
                </a:solidFill>
              </a:rPr>
              <a:t>공동 구매 내역</a:t>
            </a:r>
            <a:endParaRPr kumimoji="0" lang="ko-KR" altLang="en-US" sz="1400" dirty="0">
              <a:solidFill>
                <a:schemeClr val="bg1"/>
              </a:solidFill>
            </a:endParaRPr>
          </a:p>
        </p:txBody>
      </p:sp>
      <p:sp>
        <p:nvSpPr>
          <p:cNvPr id="22" name="Rectangle 37"/>
          <p:cNvSpPr>
            <a:spLocks noChangeArrowheads="1"/>
          </p:cNvSpPr>
          <p:nvPr/>
        </p:nvSpPr>
        <p:spPr bwMode="auto">
          <a:xfrm>
            <a:off x="3947160" y="2659913"/>
            <a:ext cx="894816"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명의</a:t>
            </a:r>
            <a:r>
              <a:rPr kumimoji="1" lang="ko-KR" altLang="en-US" kern="0" dirty="0">
                <a:solidFill>
                  <a:schemeClr val="bg1"/>
                </a:solidFill>
                <a:latin typeface="맑은 고딕" panose="020B0503020000020004" pitchFamily="50" charset="-127"/>
              </a:rPr>
              <a:t>자</a:t>
            </a:r>
            <a:r>
              <a:rPr kumimoji="1" lang="ko-KR" altLang="en-US" kern="0" dirty="0" smtClean="0">
                <a:solidFill>
                  <a:schemeClr val="bg1"/>
                </a:solidFill>
                <a:latin typeface="맑은 고딕" panose="020B0503020000020004" pitchFamily="50" charset="-127"/>
              </a:rPr>
              <a:t>수</a:t>
            </a:r>
            <a:endParaRPr kumimoji="1" lang="ko-KR" altLang="en-US" kern="0" dirty="0">
              <a:solidFill>
                <a:schemeClr val="bg1"/>
              </a:solidFill>
              <a:latin typeface="맑은 고딕" panose="020B0503020000020004" pitchFamily="50" charset="-127"/>
            </a:endParaRPr>
          </a:p>
        </p:txBody>
      </p:sp>
      <p:sp>
        <p:nvSpPr>
          <p:cNvPr id="24" name="Rectangle 37"/>
          <p:cNvSpPr>
            <a:spLocks noChangeArrowheads="1"/>
          </p:cNvSpPr>
          <p:nvPr/>
        </p:nvSpPr>
        <p:spPr bwMode="auto">
          <a:xfrm>
            <a:off x="4959927" y="2659912"/>
            <a:ext cx="894816"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제안자</a:t>
            </a:r>
            <a:endParaRPr kumimoji="1" lang="ko-KR" altLang="en-US" kern="0" dirty="0">
              <a:solidFill>
                <a:schemeClr val="bg1"/>
              </a:solidFill>
              <a:latin typeface="맑은 고딕" panose="020B0503020000020004" pitchFamily="50" charset="-127"/>
            </a:endParaRPr>
          </a:p>
        </p:txBody>
      </p:sp>
      <p:pic>
        <p:nvPicPr>
          <p:cNvPr id="28" name="Picture 1" descr="C:\Users\jihon\Desktop\참고PPT\01\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546030"/>
            <a:ext cx="2109787" cy="51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819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44C40DD-DC50-7245-8A45-9719CE669E17}"/>
              </a:ext>
            </a:extLst>
          </p:cNvPr>
          <p:cNvSpPr>
            <a:spLocks noGrp="1"/>
          </p:cNvSpPr>
          <p:nvPr>
            <p:ph type="title"/>
          </p:nvPr>
        </p:nvSpPr>
        <p:spPr>
          <a:xfrm>
            <a:off x="309563" y="2343150"/>
            <a:ext cx="2012156" cy="2171700"/>
          </a:xfrm>
        </p:spPr>
        <p:txBody>
          <a:bodyPr/>
          <a:lstStyle/>
          <a:p>
            <a:r>
              <a:rPr lang="en-IN" sz="2300" dirty="0"/>
              <a:t>Authors</a:t>
            </a:r>
          </a:p>
        </p:txBody>
      </p:sp>
      <p:sp>
        <p:nvSpPr>
          <p:cNvPr id="10" name="Text Placeholder 9">
            <a:extLst>
              <a:ext uri="{FF2B5EF4-FFF2-40B4-BE49-F238E27FC236}">
                <a16:creationId xmlns="" xmlns:a16="http://schemas.microsoft.com/office/drawing/2014/main" id="{582CCCCC-7971-B74D-9E01-FB34266CFF33}"/>
              </a:ext>
            </a:extLst>
          </p:cNvPr>
          <p:cNvSpPr>
            <a:spLocks noGrp="1"/>
          </p:cNvSpPr>
          <p:nvPr>
            <p:ph type="body" sz="quarter" idx="14"/>
          </p:nvPr>
        </p:nvSpPr>
        <p:spPr/>
        <p:txBody>
          <a:bodyPr/>
          <a:lstStyle/>
          <a:p>
            <a:r>
              <a:rPr lang="en-US" dirty="0"/>
              <a:t>Source: See slide notes</a:t>
            </a:r>
          </a:p>
        </p:txBody>
      </p:sp>
      <p:pic>
        <p:nvPicPr>
          <p:cNvPr id="17" name="Picture 27" descr="A person smiling for the camera&#10;&#10;Description automatically generated">
            <a:extLst>
              <a:ext uri="{FF2B5EF4-FFF2-40B4-BE49-F238E27FC236}">
                <a16:creationId xmlns="" xmlns:a16="http://schemas.microsoft.com/office/drawing/2014/main" id="{03F0029F-1D30-1A44-8A17-CCF79C3D0786}"/>
              </a:ext>
            </a:extLst>
          </p:cNvPr>
          <p:cNvPicPr>
            <a:picLocks noChangeAspect="1"/>
          </p:cNvPicPr>
          <p:nvPr/>
        </p:nvPicPr>
        <p:blipFill>
          <a:blip r:embed="rId3"/>
          <a:stretch>
            <a:fillRect/>
          </a:stretch>
        </p:blipFill>
        <p:spPr>
          <a:xfrm>
            <a:off x="2802143" y="5131650"/>
            <a:ext cx="684450" cy="870956"/>
          </a:xfrm>
          <a:prstGeom prst="rect">
            <a:avLst/>
          </a:prstGeom>
        </p:spPr>
      </p:pic>
      <p:sp>
        <p:nvSpPr>
          <p:cNvPr id="19" name="TextBox 18">
            <a:extLst>
              <a:ext uri="{FF2B5EF4-FFF2-40B4-BE49-F238E27FC236}">
                <a16:creationId xmlns="" xmlns:a16="http://schemas.microsoft.com/office/drawing/2014/main" id="{A691D2E2-EECB-AB4F-85B3-96735C5FBD49}"/>
              </a:ext>
            </a:extLst>
          </p:cNvPr>
          <p:cNvSpPr txBox="1"/>
          <p:nvPr/>
        </p:nvSpPr>
        <p:spPr>
          <a:xfrm>
            <a:off x="7039952" y="1161226"/>
            <a:ext cx="2556486" cy="741321"/>
          </a:xfrm>
          <a:prstGeom prst="rect">
            <a:avLst/>
          </a:prstGeom>
          <a:noFill/>
          <a:ln>
            <a:noFill/>
          </a:ln>
        </p:spPr>
        <p:txBody>
          <a:bodyPr wrap="square" lIns="0" tIns="0" rIns="0" bIns="0" rtlCol="0">
            <a:noAutofit/>
          </a:bodyPr>
          <a:lstStyle/>
          <a:p>
            <a:pPr eaLnBrk="0" hangingPunct="0">
              <a:buClr>
                <a:srgbClr val="000000"/>
              </a:buClr>
            </a:pPr>
            <a:r>
              <a:rPr lang="ko-KR" altLang="en-US" sz="1200" dirty="0" smtClean="0">
                <a:solidFill>
                  <a:srgbClr val="00BAB6"/>
                </a:solidFill>
                <a:latin typeface="IBM Plex Sans" panose="020B0503050203000203" pitchFamily="34" charset="77"/>
                <a:ea typeface="MS PGothic" pitchFamily="34" charset="-128"/>
              </a:rPr>
              <a:t>이민</a:t>
            </a:r>
            <a:r>
              <a:rPr lang="ko-KR" altLang="en-US" sz="1200" dirty="0">
                <a:solidFill>
                  <a:srgbClr val="00BAB6"/>
                </a:solidFill>
                <a:latin typeface="IBM Plex Sans" panose="020B0503050203000203" pitchFamily="34" charset="77"/>
                <a:ea typeface="MS PGothic" pitchFamily="34" charset="-128"/>
              </a:rPr>
              <a:t>석</a:t>
            </a:r>
            <a:endParaRPr lang="en-US" sz="1200" dirty="0">
              <a:solidFill>
                <a:srgbClr val="00BAB6"/>
              </a:solidFill>
              <a:latin typeface="IBM Plex Sans" panose="020B0503050203000203" pitchFamily="34" charset="77"/>
              <a:ea typeface="MS PGothic" pitchFamily="34" charset="-128"/>
            </a:endParaRPr>
          </a:p>
          <a:p>
            <a:r>
              <a:rPr lang="ko-KR" altLang="en-US" sz="1200" dirty="0" smtClean="0">
                <a:latin typeface="IBM Plex Sans" panose="020B0503050203000203" pitchFamily="34" charset="77"/>
              </a:rPr>
              <a:t>스마트 </a:t>
            </a:r>
            <a:r>
              <a:rPr lang="ko-KR" altLang="en-US" sz="1200" dirty="0" err="1" smtClean="0">
                <a:latin typeface="IBM Plex Sans" panose="020B0503050203000203" pitchFamily="34" charset="77"/>
              </a:rPr>
              <a:t>컨트랙트</a:t>
            </a:r>
            <a:r>
              <a:rPr lang="en-US" altLang="ko-KR" sz="1200" dirty="0">
                <a:latin typeface="IBM Plex Sans" panose="020B0503050203000203" pitchFamily="34" charset="77"/>
              </a:rPr>
              <a:t> </a:t>
            </a:r>
            <a:r>
              <a:rPr lang="ko-KR" altLang="en-US" sz="1200" dirty="0" smtClean="0">
                <a:latin typeface="IBM Plex Sans" panose="020B0503050203000203" pitchFamily="34" charset="77"/>
              </a:rPr>
              <a:t>총괄</a:t>
            </a:r>
            <a:endParaRPr lang="en-US" altLang="ko-KR" sz="1200" dirty="0" smtClean="0">
              <a:latin typeface="IBM Plex Sans" panose="020B0503050203000203" pitchFamily="34" charset="77"/>
            </a:endParaRPr>
          </a:p>
          <a:p>
            <a:r>
              <a:rPr lang="ko-KR" altLang="en-US" sz="1200" dirty="0" err="1" smtClean="0">
                <a:latin typeface="IBM Plex Sans" panose="020B0503050203000203" pitchFamily="34" charset="77"/>
              </a:rPr>
              <a:t>백앤드</a:t>
            </a:r>
            <a:r>
              <a:rPr lang="ko-KR" altLang="en-US" sz="1200" dirty="0" smtClean="0">
                <a:latin typeface="IBM Plex Sans" panose="020B0503050203000203" pitchFamily="34" charset="77"/>
              </a:rPr>
              <a:t> </a:t>
            </a:r>
            <a:r>
              <a:rPr lang="en-US" altLang="ko-KR" sz="1200" dirty="0" smtClean="0">
                <a:latin typeface="IBM Plex Sans" panose="020B0503050203000203" pitchFamily="34" charset="77"/>
              </a:rPr>
              <a:t>xxx </a:t>
            </a:r>
            <a:r>
              <a:rPr lang="ko-KR" altLang="en-US" sz="1200" dirty="0" smtClean="0">
                <a:latin typeface="IBM Plex Sans" panose="020B0503050203000203" pitchFamily="34" charset="77"/>
              </a:rPr>
              <a:t>부문</a:t>
            </a:r>
            <a:endParaRPr lang="en-US" altLang="ko-KR" sz="1200" dirty="0" smtClean="0">
              <a:latin typeface="IBM Plex Sans" panose="020B0503050203000203" pitchFamily="34" charset="77"/>
            </a:endParaRPr>
          </a:p>
          <a:p>
            <a:r>
              <a:rPr lang="ko-KR" altLang="en-US" sz="1200" dirty="0" err="1" smtClean="0">
                <a:latin typeface="IBM Plex Sans" panose="020B0503050203000203" pitchFamily="34" charset="77"/>
              </a:rPr>
              <a:t>프론트</a:t>
            </a:r>
            <a:r>
              <a:rPr lang="ko-KR" altLang="en-US" sz="1200" dirty="0" smtClean="0">
                <a:latin typeface="IBM Plex Sans" panose="020B0503050203000203" pitchFamily="34" charset="77"/>
              </a:rPr>
              <a:t> </a:t>
            </a:r>
            <a:r>
              <a:rPr lang="en-US" altLang="ko-KR" sz="1200" dirty="0" smtClean="0">
                <a:latin typeface="IBM Plex Sans" panose="020B0503050203000203" pitchFamily="34" charset="77"/>
              </a:rPr>
              <a:t>xxx </a:t>
            </a:r>
            <a:r>
              <a:rPr lang="ko-KR" altLang="en-US" sz="1200" dirty="0" smtClean="0">
                <a:latin typeface="IBM Plex Sans" panose="020B0503050203000203" pitchFamily="34" charset="77"/>
              </a:rPr>
              <a:t>부문</a:t>
            </a:r>
            <a:endParaRPr lang="en-US" altLang="ko-KR" sz="1200" dirty="0" smtClean="0">
              <a:latin typeface="IBM Plex Sans" panose="020B0503050203000203" pitchFamily="34" charset="77"/>
            </a:endParaRPr>
          </a:p>
          <a:p>
            <a:r>
              <a:rPr lang="en-US" sz="1200" dirty="0" smtClean="0">
                <a:latin typeface="IBM Plex Sans" panose="020B0503050203000203" pitchFamily="34" charset="77"/>
              </a:rPr>
              <a:t>xxx@gmail.com </a:t>
            </a:r>
            <a:endParaRPr lang="en-US" sz="1200" dirty="0">
              <a:latin typeface="IBM Plex Sans" panose="020B0503050203000203" pitchFamily="34" charset="77"/>
            </a:endParaRPr>
          </a:p>
        </p:txBody>
      </p:sp>
      <p:sp>
        <p:nvSpPr>
          <p:cNvPr id="20" name="TextBox 19">
            <a:extLst>
              <a:ext uri="{FF2B5EF4-FFF2-40B4-BE49-F238E27FC236}">
                <a16:creationId xmlns="" xmlns:a16="http://schemas.microsoft.com/office/drawing/2014/main" id="{D95363C7-51B0-D64C-93D0-374C78ACCC45}"/>
              </a:ext>
            </a:extLst>
          </p:cNvPr>
          <p:cNvSpPr txBox="1"/>
          <p:nvPr/>
        </p:nvSpPr>
        <p:spPr>
          <a:xfrm>
            <a:off x="7032507" y="3124201"/>
            <a:ext cx="2532975" cy="741321"/>
          </a:xfrm>
          <a:prstGeom prst="rect">
            <a:avLst/>
          </a:prstGeom>
          <a:noFill/>
          <a:ln>
            <a:noFill/>
          </a:ln>
        </p:spPr>
        <p:txBody>
          <a:bodyPr wrap="square" lIns="0" tIns="0" rIns="0" bIns="0" rtlCol="0">
            <a:noAutofit/>
          </a:bodyPr>
          <a:lstStyle/>
          <a:p>
            <a:pPr>
              <a:buClr>
                <a:srgbClr val="000000"/>
              </a:buClr>
            </a:pPr>
            <a:r>
              <a:rPr lang="ko-KR" altLang="en-US" sz="1200" dirty="0" smtClean="0">
                <a:solidFill>
                  <a:srgbClr val="00BAB6"/>
                </a:solidFill>
                <a:latin typeface="IBM Plex Sans" panose="020B0503050203000203" pitchFamily="34" charset="77"/>
                <a:ea typeface="MS PGothic" pitchFamily="34" charset="-128"/>
              </a:rPr>
              <a:t>이민정</a:t>
            </a:r>
            <a:endParaRPr lang="en-US" altLang="ko-KR" sz="1200" dirty="0" smtClean="0">
              <a:solidFill>
                <a:srgbClr val="00BAB6"/>
              </a:solidFill>
              <a:latin typeface="IBM Plex Sans" panose="020B0503050203000203" pitchFamily="34" charset="77"/>
              <a:ea typeface="MS PGothic" pitchFamily="34" charset="-128"/>
            </a:endParaRPr>
          </a:p>
          <a:p>
            <a:r>
              <a:rPr lang="ko-KR" altLang="en-US" sz="1200" dirty="0" err="1" smtClean="0">
                <a:latin typeface="IBM Plex Sans" panose="020B0503050203000203" pitchFamily="34" charset="77"/>
              </a:rPr>
              <a:t>백앤드</a:t>
            </a:r>
            <a:r>
              <a:rPr lang="ko-KR" altLang="en-US" sz="1200" dirty="0" smtClean="0">
                <a:latin typeface="IBM Plex Sans" panose="020B0503050203000203" pitchFamily="34" charset="77"/>
              </a:rPr>
              <a:t> 총괄</a:t>
            </a:r>
            <a:endParaRPr lang="en-US" altLang="ko-KR" sz="1200" dirty="0" smtClean="0">
              <a:latin typeface="IBM Plex Sans" panose="020B0503050203000203" pitchFamily="34" charset="77"/>
            </a:endParaRPr>
          </a:p>
          <a:p>
            <a:r>
              <a:rPr lang="ko-KR" altLang="en-US" sz="1200" dirty="0" smtClean="0">
                <a:latin typeface="IBM Plex Sans" panose="020B0503050203000203" pitchFamily="34" charset="77"/>
              </a:rPr>
              <a:t>스마트 </a:t>
            </a:r>
            <a:r>
              <a:rPr lang="ko-KR" altLang="en-US" sz="1200" dirty="0" err="1" smtClean="0">
                <a:latin typeface="IBM Plex Sans" panose="020B0503050203000203" pitchFamily="34" charset="77"/>
              </a:rPr>
              <a:t>컨트랙트</a:t>
            </a:r>
            <a:r>
              <a:rPr lang="ko-KR" altLang="en-US" sz="1200" dirty="0" smtClean="0">
                <a:latin typeface="IBM Plex Sans" panose="020B0503050203000203" pitchFamily="34" charset="77"/>
              </a:rPr>
              <a:t> </a:t>
            </a:r>
            <a:r>
              <a:rPr lang="en-US" altLang="ko-KR" sz="1200" dirty="0" smtClean="0">
                <a:latin typeface="IBM Plex Sans" panose="020B0503050203000203" pitchFamily="34" charset="77"/>
              </a:rPr>
              <a:t>xxx </a:t>
            </a:r>
            <a:r>
              <a:rPr lang="ko-KR" altLang="en-US" sz="1200" dirty="0" smtClean="0">
                <a:latin typeface="IBM Plex Sans" panose="020B0503050203000203" pitchFamily="34" charset="77"/>
              </a:rPr>
              <a:t>부문</a:t>
            </a:r>
            <a:endParaRPr lang="en-US" altLang="ko-KR" sz="1200" dirty="0" smtClean="0">
              <a:latin typeface="IBM Plex Sans" panose="020B0503050203000203" pitchFamily="34" charset="77"/>
            </a:endParaRPr>
          </a:p>
          <a:p>
            <a:r>
              <a:rPr lang="ko-KR" altLang="en-US" sz="1200" dirty="0" err="1" smtClean="0">
                <a:latin typeface="IBM Plex Sans" panose="020B0503050203000203" pitchFamily="34" charset="77"/>
              </a:rPr>
              <a:t>프론트</a:t>
            </a:r>
            <a:r>
              <a:rPr lang="ko-KR" altLang="en-US" sz="1200" dirty="0" smtClean="0">
                <a:latin typeface="IBM Plex Sans" panose="020B0503050203000203" pitchFamily="34" charset="77"/>
              </a:rPr>
              <a:t> </a:t>
            </a:r>
            <a:r>
              <a:rPr lang="en-US" altLang="ko-KR" sz="1200" dirty="0" smtClean="0">
                <a:latin typeface="IBM Plex Sans" panose="020B0503050203000203" pitchFamily="34" charset="77"/>
              </a:rPr>
              <a:t>xxx </a:t>
            </a:r>
            <a:r>
              <a:rPr lang="ko-KR" altLang="en-US" sz="1200" dirty="0" smtClean="0">
                <a:latin typeface="IBM Plex Sans" panose="020B0503050203000203" pitchFamily="34" charset="77"/>
              </a:rPr>
              <a:t>부문</a:t>
            </a:r>
            <a:endParaRPr lang="en-US" altLang="ko-KR" sz="1200" dirty="0" smtClean="0">
              <a:latin typeface="IBM Plex Sans" panose="020B0503050203000203" pitchFamily="34" charset="77"/>
            </a:endParaRPr>
          </a:p>
          <a:p>
            <a:r>
              <a:rPr lang="en-US" altLang="ko-KR" sz="1200" dirty="0" smtClean="0">
                <a:latin typeface="IBM Plex Sans" panose="020B0503050203000203" pitchFamily="34" charset="77"/>
              </a:rPr>
              <a:t>xxx@gmail.com </a:t>
            </a:r>
            <a:endParaRPr lang="en-US" altLang="ko-KR" sz="1200" dirty="0">
              <a:latin typeface="IBM Plex Sans" panose="020B0503050203000203" pitchFamily="34" charset="77"/>
            </a:endParaRPr>
          </a:p>
        </p:txBody>
      </p:sp>
      <p:pic>
        <p:nvPicPr>
          <p:cNvPr id="23" name="Picture 21" descr="A person wearing a suit and tie smiling at the camera&#10;&#10;Description automatically generated">
            <a:extLst>
              <a:ext uri="{FF2B5EF4-FFF2-40B4-BE49-F238E27FC236}">
                <a16:creationId xmlns="" xmlns:a16="http://schemas.microsoft.com/office/drawing/2014/main" id="{79BF74CF-997A-B143-8497-3D013C5B71EA}"/>
              </a:ext>
            </a:extLst>
          </p:cNvPr>
          <p:cNvPicPr>
            <a:picLocks noChangeAspect="1"/>
          </p:cNvPicPr>
          <p:nvPr/>
        </p:nvPicPr>
        <p:blipFill>
          <a:blip r:embed="rId4"/>
          <a:stretch>
            <a:fillRect/>
          </a:stretch>
        </p:blipFill>
        <p:spPr>
          <a:xfrm>
            <a:off x="2799765" y="3124200"/>
            <a:ext cx="680668" cy="842400"/>
          </a:xfrm>
          <a:prstGeom prst="rect">
            <a:avLst/>
          </a:prstGeom>
        </p:spPr>
      </p:pic>
      <p:pic>
        <p:nvPicPr>
          <p:cNvPr id="26" name="Picture 23" descr="A person smiling for the camera&#10;&#10;Description automatically generated">
            <a:extLst>
              <a:ext uri="{FF2B5EF4-FFF2-40B4-BE49-F238E27FC236}">
                <a16:creationId xmlns="" xmlns:a16="http://schemas.microsoft.com/office/drawing/2014/main" id="{6B3FA828-1A75-164A-837A-AB005A29873C}"/>
              </a:ext>
            </a:extLst>
          </p:cNvPr>
          <p:cNvPicPr>
            <a:picLocks noChangeAspect="1"/>
          </p:cNvPicPr>
          <p:nvPr/>
        </p:nvPicPr>
        <p:blipFill>
          <a:blip r:embed="rId5"/>
          <a:stretch>
            <a:fillRect/>
          </a:stretch>
        </p:blipFill>
        <p:spPr>
          <a:xfrm>
            <a:off x="6211646" y="3124201"/>
            <a:ext cx="690666" cy="850051"/>
          </a:xfrm>
          <a:prstGeom prst="rect">
            <a:avLst/>
          </a:prstGeom>
        </p:spPr>
      </p:pic>
      <p:sp>
        <p:nvSpPr>
          <p:cNvPr id="30" name="TextBox 29">
            <a:extLst>
              <a:ext uri="{FF2B5EF4-FFF2-40B4-BE49-F238E27FC236}">
                <a16:creationId xmlns="" xmlns:a16="http://schemas.microsoft.com/office/drawing/2014/main" id="{A811DCE3-68C0-C640-B00F-02D345E05DA8}"/>
              </a:ext>
            </a:extLst>
          </p:cNvPr>
          <p:cNvSpPr txBox="1"/>
          <p:nvPr/>
        </p:nvSpPr>
        <p:spPr>
          <a:xfrm>
            <a:off x="3618212" y="1161225"/>
            <a:ext cx="2250730" cy="741321"/>
          </a:xfrm>
          <a:prstGeom prst="rect">
            <a:avLst/>
          </a:prstGeom>
          <a:noFill/>
          <a:ln>
            <a:noFill/>
          </a:ln>
        </p:spPr>
        <p:txBody>
          <a:bodyPr wrap="square" lIns="0" tIns="0" rIns="0" bIns="0" rtlCol="0">
            <a:noAutofit/>
          </a:bodyPr>
          <a:lstStyle/>
          <a:p>
            <a:pPr eaLnBrk="0" hangingPunct="0">
              <a:buClr>
                <a:srgbClr val="000000"/>
              </a:buClr>
            </a:pPr>
            <a:r>
              <a:rPr lang="ko-KR" altLang="en-US" sz="1200" dirty="0" smtClean="0">
                <a:solidFill>
                  <a:srgbClr val="00BAB6"/>
                </a:solidFill>
                <a:latin typeface="IBM Plex Sans" panose="020B0503050203000203" pitchFamily="34" charset="77"/>
                <a:ea typeface="MS PGothic" pitchFamily="34" charset="-128"/>
              </a:rPr>
              <a:t>박규하 </a:t>
            </a:r>
            <a:r>
              <a:rPr lang="ko-KR" altLang="en-US" sz="1200" dirty="0" err="1" smtClean="0">
                <a:solidFill>
                  <a:srgbClr val="00BAB6"/>
                </a:solidFill>
                <a:latin typeface="IBM Plex Sans" panose="020B0503050203000203" pitchFamily="34" charset="77"/>
                <a:ea typeface="MS PGothic" pitchFamily="34" charset="-128"/>
              </a:rPr>
              <a:t>멘토님</a:t>
            </a:r>
            <a:endParaRPr lang="en-US" sz="1200" dirty="0">
              <a:solidFill>
                <a:srgbClr val="00BAB6"/>
              </a:solidFill>
              <a:latin typeface="IBM Plex Sans" panose="020B0503050203000203" pitchFamily="34" charset="77"/>
              <a:ea typeface="MS PGothic" pitchFamily="34" charset="-128"/>
            </a:endParaRPr>
          </a:p>
          <a:p>
            <a:pPr eaLnBrk="0" hangingPunct="0"/>
            <a:r>
              <a:rPr lang="ko-KR" altLang="en-US" sz="1200" dirty="0" err="1" smtClean="0">
                <a:latin typeface="IBM Plex Sans" panose="020B0503050203000203" pitchFamily="34" charset="77"/>
                <a:ea typeface="MS PGothic" pitchFamily="34" charset="-128"/>
              </a:rPr>
              <a:t>멘</a:t>
            </a:r>
            <a:r>
              <a:rPr lang="ko-KR" altLang="en-US" sz="1200" dirty="0" err="1">
                <a:latin typeface="IBM Plex Sans" panose="020B0503050203000203" pitchFamily="34" charset="77"/>
                <a:ea typeface="MS PGothic" pitchFamily="34" charset="-128"/>
              </a:rPr>
              <a:t>토</a:t>
            </a:r>
            <a:endParaRPr lang="en-US" sz="1200" dirty="0">
              <a:latin typeface="IBM Plex Sans" panose="020B0503050203000203" pitchFamily="34" charset="77"/>
              <a:ea typeface="MS PGothic" pitchFamily="34" charset="-128"/>
            </a:endParaRPr>
          </a:p>
          <a:p>
            <a:pPr eaLnBrk="0" hangingPunct="0"/>
            <a:r>
              <a:rPr lang="en-US" sz="1200" dirty="0" smtClean="0">
                <a:latin typeface="IBM Plex Sans" panose="020B0503050203000203" pitchFamily="34" charset="77"/>
                <a:ea typeface="MS PGothic" pitchFamily="34" charset="-128"/>
              </a:rPr>
              <a:t>xxx@gmail.com</a:t>
            </a:r>
            <a:r>
              <a:rPr lang="en-US" sz="1200" dirty="0" smtClean="0">
                <a:latin typeface="IBM Plex Sans" panose="020B0503050203000203" pitchFamily="34" charset="77"/>
              </a:rPr>
              <a:t> </a:t>
            </a:r>
            <a:endParaRPr lang="en-US" sz="1200" dirty="0">
              <a:latin typeface="IBM Plex Sans" panose="020B0503050203000203" pitchFamily="34" charset="77"/>
            </a:endParaRPr>
          </a:p>
        </p:txBody>
      </p:sp>
      <p:sp>
        <p:nvSpPr>
          <p:cNvPr id="31" name="TextBox 30">
            <a:extLst>
              <a:ext uri="{FF2B5EF4-FFF2-40B4-BE49-F238E27FC236}">
                <a16:creationId xmlns="" xmlns:a16="http://schemas.microsoft.com/office/drawing/2014/main" id="{9DFB9193-ABD3-AD43-AD39-80517ED0476C}"/>
              </a:ext>
            </a:extLst>
          </p:cNvPr>
          <p:cNvSpPr txBox="1"/>
          <p:nvPr/>
        </p:nvSpPr>
        <p:spPr>
          <a:xfrm>
            <a:off x="3618212" y="3124200"/>
            <a:ext cx="2250730" cy="741321"/>
          </a:xfrm>
          <a:prstGeom prst="rect">
            <a:avLst/>
          </a:prstGeom>
          <a:noFill/>
          <a:ln>
            <a:noFill/>
          </a:ln>
        </p:spPr>
        <p:txBody>
          <a:bodyPr wrap="square" lIns="0" tIns="0" rIns="0" bIns="0" rtlCol="0">
            <a:noAutofit/>
          </a:bodyPr>
          <a:lstStyle/>
          <a:p>
            <a:pPr>
              <a:buClr>
                <a:srgbClr val="000000"/>
              </a:buClr>
            </a:pPr>
            <a:r>
              <a:rPr lang="ko-KR" altLang="en-US" sz="1200" dirty="0" smtClean="0">
                <a:solidFill>
                  <a:srgbClr val="00BAB6"/>
                </a:solidFill>
                <a:latin typeface="IBM Plex Sans" panose="020B0503050203000203" pitchFamily="34" charset="77"/>
                <a:ea typeface="MS PGothic" pitchFamily="34" charset="-128"/>
              </a:rPr>
              <a:t>현광</a:t>
            </a:r>
            <a:r>
              <a:rPr lang="ko-KR" altLang="en-US" sz="1200" dirty="0">
                <a:solidFill>
                  <a:srgbClr val="00BAB6"/>
                </a:solidFill>
                <a:latin typeface="IBM Plex Sans" panose="020B0503050203000203" pitchFamily="34" charset="77"/>
                <a:ea typeface="MS PGothic" pitchFamily="34" charset="-128"/>
              </a:rPr>
              <a:t>수</a:t>
            </a:r>
            <a:endParaRPr lang="en-US" altLang="ko-KR" sz="1200" dirty="0" smtClean="0">
              <a:solidFill>
                <a:srgbClr val="00BAB6"/>
              </a:solidFill>
              <a:latin typeface="IBM Plex Sans" panose="020B0503050203000203" pitchFamily="34" charset="77"/>
              <a:ea typeface="MS PGothic" pitchFamily="34" charset="-128"/>
            </a:endParaRPr>
          </a:p>
          <a:p>
            <a:r>
              <a:rPr lang="ko-KR" altLang="en-US" sz="1200" dirty="0" err="1" smtClean="0">
                <a:latin typeface="IBM Plex Sans" panose="020B0503050203000203" pitchFamily="34" charset="77"/>
              </a:rPr>
              <a:t>프론</a:t>
            </a:r>
            <a:r>
              <a:rPr lang="ko-KR" altLang="en-US" sz="1200" dirty="0" err="1">
                <a:latin typeface="IBM Plex Sans" panose="020B0503050203000203" pitchFamily="34" charset="77"/>
              </a:rPr>
              <a:t>트</a:t>
            </a:r>
            <a:r>
              <a:rPr lang="en-US" altLang="ko-KR" sz="1200" dirty="0" smtClean="0">
                <a:latin typeface="IBM Plex Sans" panose="020B0503050203000203" pitchFamily="34" charset="77"/>
              </a:rPr>
              <a:t> </a:t>
            </a:r>
            <a:r>
              <a:rPr lang="ko-KR" altLang="en-US" sz="1200" dirty="0" smtClean="0">
                <a:latin typeface="IBM Plex Sans" panose="020B0503050203000203" pitchFamily="34" charset="77"/>
              </a:rPr>
              <a:t>총괄</a:t>
            </a:r>
            <a:endParaRPr lang="en-US" altLang="ko-KR" sz="1200" dirty="0" smtClean="0">
              <a:latin typeface="IBM Plex Sans" panose="020B0503050203000203" pitchFamily="34" charset="77"/>
            </a:endParaRPr>
          </a:p>
          <a:p>
            <a:r>
              <a:rPr lang="ko-KR" altLang="en-US" sz="1200" dirty="0" smtClean="0">
                <a:latin typeface="IBM Plex Sans" panose="020B0503050203000203" pitchFamily="34" charset="77"/>
              </a:rPr>
              <a:t>스마트 </a:t>
            </a:r>
            <a:r>
              <a:rPr lang="ko-KR" altLang="en-US" sz="1200" dirty="0" err="1" smtClean="0">
                <a:latin typeface="IBM Plex Sans" panose="020B0503050203000203" pitchFamily="34" charset="77"/>
              </a:rPr>
              <a:t>컨트랙트</a:t>
            </a:r>
            <a:r>
              <a:rPr lang="ko-KR" altLang="en-US" sz="1200" dirty="0" smtClean="0">
                <a:latin typeface="IBM Plex Sans" panose="020B0503050203000203" pitchFamily="34" charset="77"/>
              </a:rPr>
              <a:t> </a:t>
            </a:r>
            <a:r>
              <a:rPr lang="en-US" altLang="ko-KR" sz="1200" dirty="0" smtClean="0">
                <a:latin typeface="IBM Plex Sans" panose="020B0503050203000203" pitchFamily="34" charset="77"/>
              </a:rPr>
              <a:t>xxx </a:t>
            </a:r>
            <a:r>
              <a:rPr lang="ko-KR" altLang="en-US" sz="1200" dirty="0" smtClean="0">
                <a:latin typeface="IBM Plex Sans" panose="020B0503050203000203" pitchFamily="34" charset="77"/>
              </a:rPr>
              <a:t>부문</a:t>
            </a:r>
            <a:endParaRPr lang="en-US" altLang="ko-KR" sz="1200" dirty="0" smtClean="0">
              <a:latin typeface="IBM Plex Sans" panose="020B0503050203000203" pitchFamily="34" charset="77"/>
            </a:endParaRPr>
          </a:p>
          <a:p>
            <a:r>
              <a:rPr lang="ko-KR" altLang="en-US" sz="1200" dirty="0" err="1" smtClean="0">
                <a:latin typeface="IBM Plex Sans" panose="020B0503050203000203" pitchFamily="34" charset="77"/>
              </a:rPr>
              <a:t>백앤</a:t>
            </a:r>
            <a:r>
              <a:rPr lang="ko-KR" altLang="en-US" sz="1200" dirty="0" err="1">
                <a:latin typeface="IBM Plex Sans" panose="020B0503050203000203" pitchFamily="34" charset="77"/>
              </a:rPr>
              <a:t>드</a:t>
            </a:r>
            <a:r>
              <a:rPr lang="ko-KR" altLang="en-US" sz="1200" dirty="0" smtClean="0">
                <a:latin typeface="IBM Plex Sans" panose="020B0503050203000203" pitchFamily="34" charset="77"/>
              </a:rPr>
              <a:t> </a:t>
            </a:r>
            <a:r>
              <a:rPr lang="en-US" altLang="ko-KR" sz="1200" dirty="0" smtClean="0">
                <a:latin typeface="IBM Plex Sans" panose="020B0503050203000203" pitchFamily="34" charset="77"/>
              </a:rPr>
              <a:t>xxx </a:t>
            </a:r>
            <a:r>
              <a:rPr lang="ko-KR" altLang="en-US" sz="1200" dirty="0" smtClean="0">
                <a:latin typeface="IBM Plex Sans" panose="020B0503050203000203" pitchFamily="34" charset="77"/>
              </a:rPr>
              <a:t>부문</a:t>
            </a:r>
            <a:endParaRPr lang="en-US" altLang="ko-KR" sz="1200" dirty="0" smtClean="0">
              <a:latin typeface="IBM Plex Sans" panose="020B0503050203000203" pitchFamily="34" charset="77"/>
            </a:endParaRPr>
          </a:p>
          <a:p>
            <a:r>
              <a:rPr lang="en-US" altLang="ko-KR" sz="1200" dirty="0" smtClean="0">
                <a:latin typeface="IBM Plex Sans" panose="020B0503050203000203" pitchFamily="34" charset="77"/>
              </a:rPr>
              <a:t>xxx@gmail.com </a:t>
            </a:r>
            <a:endParaRPr lang="en-US" altLang="ko-KR" sz="1200" dirty="0">
              <a:latin typeface="IBM Plex Sans" panose="020B0503050203000203" pitchFamily="34" charset="77"/>
            </a:endParaRPr>
          </a:p>
        </p:txBody>
      </p:sp>
      <p:sp>
        <p:nvSpPr>
          <p:cNvPr id="32" name="TextBox 31">
            <a:extLst>
              <a:ext uri="{FF2B5EF4-FFF2-40B4-BE49-F238E27FC236}">
                <a16:creationId xmlns="" xmlns:a16="http://schemas.microsoft.com/office/drawing/2014/main" id="{8CB78996-3107-654E-A190-C8F9EF1BF2B2}"/>
              </a:ext>
            </a:extLst>
          </p:cNvPr>
          <p:cNvSpPr txBox="1"/>
          <p:nvPr/>
        </p:nvSpPr>
        <p:spPr>
          <a:xfrm>
            <a:off x="3618212" y="5131650"/>
            <a:ext cx="2250730" cy="741321"/>
          </a:xfrm>
          <a:prstGeom prst="rect">
            <a:avLst/>
          </a:prstGeom>
          <a:noFill/>
          <a:ln>
            <a:noFill/>
          </a:ln>
        </p:spPr>
        <p:txBody>
          <a:bodyPr wrap="square" lIns="0" tIns="0" rIns="0" bIns="0" rtlCol="0">
            <a:noAutofit/>
          </a:bodyPr>
          <a:lstStyle/>
          <a:p>
            <a:pPr>
              <a:buClr>
                <a:srgbClr val="000000"/>
              </a:buClr>
            </a:pPr>
            <a:r>
              <a:rPr lang="ko-KR" altLang="en-US" sz="1200" dirty="0" smtClean="0">
                <a:solidFill>
                  <a:srgbClr val="00BAB6"/>
                </a:solidFill>
                <a:latin typeface="IBM Plex Sans" panose="020B0503050203000203" pitchFamily="34" charset="77"/>
                <a:ea typeface="MS PGothic" pitchFamily="34" charset="-128"/>
              </a:rPr>
              <a:t>이민석</a:t>
            </a:r>
            <a:endParaRPr lang="en-US" altLang="ko-KR" sz="1200" dirty="0" smtClean="0">
              <a:solidFill>
                <a:srgbClr val="00BAB6"/>
              </a:solidFill>
              <a:latin typeface="IBM Plex Sans" panose="020B0503050203000203" pitchFamily="34" charset="77"/>
              <a:ea typeface="MS PGothic" pitchFamily="34" charset="-128"/>
            </a:endParaRPr>
          </a:p>
          <a:p>
            <a:r>
              <a:rPr lang="ko-KR" altLang="en-US" sz="1200" dirty="0" smtClean="0">
                <a:latin typeface="IBM Plex Sans" panose="020B0503050203000203" pitchFamily="34" charset="77"/>
              </a:rPr>
              <a:t>스마트 </a:t>
            </a:r>
            <a:r>
              <a:rPr lang="ko-KR" altLang="en-US" sz="1200" dirty="0" err="1" smtClean="0">
                <a:latin typeface="IBM Plex Sans" panose="020B0503050203000203" pitchFamily="34" charset="77"/>
              </a:rPr>
              <a:t>컨트랙트</a:t>
            </a:r>
            <a:r>
              <a:rPr lang="en-US" altLang="ko-KR" sz="1200" dirty="0" smtClean="0">
                <a:latin typeface="IBM Plex Sans" panose="020B0503050203000203" pitchFamily="34" charset="77"/>
              </a:rPr>
              <a:t> xxx </a:t>
            </a:r>
            <a:r>
              <a:rPr lang="ko-KR" altLang="en-US" sz="1200" dirty="0" smtClean="0">
                <a:latin typeface="IBM Plex Sans" panose="020B0503050203000203" pitchFamily="34" charset="77"/>
              </a:rPr>
              <a:t>부문</a:t>
            </a:r>
            <a:endParaRPr lang="en-US" altLang="ko-KR" sz="1200" dirty="0" smtClean="0">
              <a:latin typeface="IBM Plex Sans" panose="020B0503050203000203" pitchFamily="34" charset="77"/>
            </a:endParaRPr>
          </a:p>
          <a:p>
            <a:r>
              <a:rPr lang="ko-KR" altLang="en-US" sz="1200" dirty="0" err="1" smtClean="0">
                <a:latin typeface="IBM Plex Sans" panose="020B0503050203000203" pitchFamily="34" charset="77"/>
              </a:rPr>
              <a:t>백앤드</a:t>
            </a:r>
            <a:r>
              <a:rPr lang="ko-KR" altLang="en-US" sz="1200" dirty="0" smtClean="0">
                <a:latin typeface="IBM Plex Sans" panose="020B0503050203000203" pitchFamily="34" charset="77"/>
              </a:rPr>
              <a:t> </a:t>
            </a:r>
            <a:r>
              <a:rPr lang="en-US" altLang="ko-KR" sz="1200" dirty="0" smtClean="0">
                <a:latin typeface="IBM Plex Sans" panose="020B0503050203000203" pitchFamily="34" charset="77"/>
              </a:rPr>
              <a:t>xxx </a:t>
            </a:r>
            <a:r>
              <a:rPr lang="ko-KR" altLang="en-US" sz="1200" dirty="0" smtClean="0">
                <a:latin typeface="IBM Plex Sans" panose="020B0503050203000203" pitchFamily="34" charset="77"/>
              </a:rPr>
              <a:t>부문</a:t>
            </a:r>
            <a:endParaRPr lang="en-US" altLang="ko-KR" sz="1200" dirty="0" smtClean="0">
              <a:latin typeface="IBM Plex Sans" panose="020B0503050203000203" pitchFamily="34" charset="77"/>
            </a:endParaRPr>
          </a:p>
          <a:p>
            <a:r>
              <a:rPr lang="ko-KR" altLang="en-US" sz="1200" dirty="0" err="1" smtClean="0">
                <a:latin typeface="IBM Plex Sans" panose="020B0503050203000203" pitchFamily="34" charset="77"/>
              </a:rPr>
              <a:t>프론트</a:t>
            </a:r>
            <a:r>
              <a:rPr lang="ko-KR" altLang="en-US" sz="1200" dirty="0" smtClean="0">
                <a:latin typeface="IBM Plex Sans" panose="020B0503050203000203" pitchFamily="34" charset="77"/>
              </a:rPr>
              <a:t> </a:t>
            </a:r>
            <a:r>
              <a:rPr lang="en-US" altLang="ko-KR" sz="1200" dirty="0" smtClean="0">
                <a:latin typeface="IBM Plex Sans" panose="020B0503050203000203" pitchFamily="34" charset="77"/>
              </a:rPr>
              <a:t>xxx </a:t>
            </a:r>
            <a:r>
              <a:rPr lang="ko-KR" altLang="en-US" sz="1200" dirty="0" smtClean="0">
                <a:latin typeface="IBM Plex Sans" panose="020B0503050203000203" pitchFamily="34" charset="77"/>
              </a:rPr>
              <a:t>부문</a:t>
            </a:r>
            <a:endParaRPr lang="en-US" altLang="ko-KR" sz="1200" dirty="0" smtClean="0">
              <a:latin typeface="IBM Plex Sans" panose="020B0503050203000203" pitchFamily="34" charset="77"/>
            </a:endParaRPr>
          </a:p>
          <a:p>
            <a:r>
              <a:rPr lang="en-US" altLang="ko-KR" sz="1200" dirty="0" smtClean="0">
                <a:latin typeface="IBM Plex Sans" panose="020B0503050203000203" pitchFamily="34" charset="77"/>
              </a:rPr>
              <a:t>xxx@gmail.com </a:t>
            </a:r>
            <a:endParaRPr lang="en-US" altLang="ko-KR" sz="1200" dirty="0">
              <a:latin typeface="IBM Plex Sans" panose="020B0503050203000203" pitchFamily="34" charset="77"/>
            </a:endParaRPr>
          </a:p>
        </p:txBody>
      </p:sp>
      <p:pic>
        <p:nvPicPr>
          <p:cNvPr id="33" name="Picture 20" descr="A person wearing a suit and tie smiling at the camera&#10;&#10;Description automatically generated">
            <a:extLst>
              <a:ext uri="{FF2B5EF4-FFF2-40B4-BE49-F238E27FC236}">
                <a16:creationId xmlns="" xmlns:a16="http://schemas.microsoft.com/office/drawing/2014/main" id="{0229F76E-0D11-2D4D-B407-488378AA037A}"/>
              </a:ext>
            </a:extLst>
          </p:cNvPr>
          <p:cNvPicPr>
            <a:picLocks noChangeAspect="1"/>
          </p:cNvPicPr>
          <p:nvPr/>
        </p:nvPicPr>
        <p:blipFill>
          <a:blip r:embed="rId6"/>
          <a:stretch>
            <a:fillRect/>
          </a:stretch>
        </p:blipFill>
        <p:spPr>
          <a:xfrm>
            <a:off x="6211646" y="1173617"/>
            <a:ext cx="686829" cy="850051"/>
          </a:xfrm>
          <a:prstGeom prst="rect">
            <a:avLst/>
          </a:prstGeom>
        </p:spPr>
      </p:pic>
      <p:pic>
        <p:nvPicPr>
          <p:cNvPr id="129026" name="Picture 2" descr="C:\Users\jihon\Desktop\참고PPT\01\01\47x55.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86151" y="1148831"/>
            <a:ext cx="747588" cy="8748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61745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1.5 </a:t>
            </a:r>
            <a:r>
              <a:rPr lang="ko-KR" altLang="en-US" dirty="0" smtClean="0">
                <a:solidFill>
                  <a:schemeClr val="tx2"/>
                </a:solidFill>
                <a:latin typeface="맑은 고딕" pitchFamily="50" charset="-127"/>
              </a:rPr>
              <a:t>내 정보</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455920" y="157096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461760" y="1575125"/>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153400" y="1575125"/>
            <a:ext cx="131095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지갑</a:t>
            </a:r>
            <a:r>
              <a:rPr kumimoji="0" lang="en-US" altLang="ko-KR" sz="1400" dirty="0" smtClean="0">
                <a:solidFill>
                  <a:schemeClr val="bg1"/>
                </a:solidFill>
              </a:rPr>
              <a:t>(</a:t>
            </a:r>
            <a:r>
              <a:rPr kumimoji="0" lang="ko-KR" altLang="en-US" sz="1400" dirty="0" err="1" smtClean="0">
                <a:solidFill>
                  <a:schemeClr val="bg1"/>
                </a:solidFill>
              </a:rPr>
              <a:t>내정보</a:t>
            </a:r>
            <a:r>
              <a:rPr kumimoji="0" lang="en-US" altLang="ko-KR" sz="1400" dirty="0" smtClean="0">
                <a:solidFill>
                  <a:schemeClr val="bg1"/>
                </a:solidFill>
              </a:rPr>
              <a:t>)</a:t>
            </a:r>
          </a:p>
        </p:txBody>
      </p:sp>
      <p:sp>
        <p:nvSpPr>
          <p:cNvPr id="16" name="Rectangle 37"/>
          <p:cNvSpPr>
            <a:spLocks noChangeArrowheads="1"/>
          </p:cNvSpPr>
          <p:nvPr/>
        </p:nvSpPr>
        <p:spPr bwMode="auto">
          <a:xfrm>
            <a:off x="7467600" y="1566812"/>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sp>
        <p:nvSpPr>
          <p:cNvPr id="10" name="Rectangle 2"/>
          <p:cNvSpPr txBox="1">
            <a:spLocks noChangeArrowheads="1"/>
          </p:cNvSpPr>
          <p:nvPr/>
        </p:nvSpPr>
        <p:spPr bwMode="auto">
          <a:xfrm>
            <a:off x="296863" y="48280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자신이 보유한 </a:t>
            </a: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리스트 확인</a:t>
            </a:r>
            <a:endParaRPr lang="ko-KR" altLang="en-US" sz="1800" b="0" kern="0" dirty="0">
              <a:latin typeface="맑은 고딕" panose="020B0503020000020004" pitchFamily="50" charset="-127"/>
            </a:endParaRPr>
          </a:p>
        </p:txBody>
      </p:sp>
      <p:pic>
        <p:nvPicPr>
          <p:cNvPr id="1034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2194560"/>
            <a:ext cx="8448675" cy="39433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37"/>
          <p:cNvSpPr>
            <a:spLocks noChangeArrowheads="1"/>
          </p:cNvSpPr>
          <p:nvPr/>
        </p:nvSpPr>
        <p:spPr bwMode="auto">
          <a:xfrm>
            <a:off x="4641366" y="2237488"/>
            <a:ext cx="1088874"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err="1" smtClean="0">
                <a:solidFill>
                  <a:schemeClr val="bg1"/>
                </a:solidFill>
                <a:latin typeface="맑은 고딕" panose="020B0503020000020004" pitchFamily="50" charset="-127"/>
              </a:rPr>
              <a:t>계정명</a:t>
            </a:r>
            <a:endParaRPr kumimoji="1" lang="ko-KR" altLang="en-US" kern="0" dirty="0">
              <a:solidFill>
                <a:schemeClr val="bg1"/>
              </a:solidFill>
              <a:latin typeface="맑은 고딕" panose="020B0503020000020004" pitchFamily="50" charset="-127"/>
            </a:endParaRPr>
          </a:p>
        </p:txBody>
      </p:sp>
      <p:sp>
        <p:nvSpPr>
          <p:cNvPr id="17" name="Rectangle 37"/>
          <p:cNvSpPr>
            <a:spLocks noChangeArrowheads="1"/>
          </p:cNvSpPr>
          <p:nvPr/>
        </p:nvSpPr>
        <p:spPr bwMode="auto">
          <a:xfrm>
            <a:off x="792480" y="2926080"/>
            <a:ext cx="1280160"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내 소유 </a:t>
            </a:r>
            <a:r>
              <a:rPr kumimoji="1" lang="en-US" altLang="ko-KR" kern="0" dirty="0" smtClean="0">
                <a:solidFill>
                  <a:schemeClr val="bg1"/>
                </a:solidFill>
                <a:latin typeface="맑은 고딕" panose="020B0503020000020004" pitchFamily="50" charset="-127"/>
              </a:rPr>
              <a:t>NFT</a:t>
            </a:r>
            <a:endParaRPr kumimoji="1" lang="ko-KR" altLang="en-US" kern="0" dirty="0">
              <a:solidFill>
                <a:schemeClr val="bg1"/>
              </a:solidFill>
              <a:latin typeface="맑은 고딕" panose="020B0503020000020004" pitchFamily="50" charset="-127"/>
            </a:endParaRPr>
          </a:p>
        </p:txBody>
      </p:sp>
      <p:sp>
        <p:nvSpPr>
          <p:cNvPr id="18" name="Rectangle 37"/>
          <p:cNvSpPr>
            <a:spLocks noChangeArrowheads="1"/>
          </p:cNvSpPr>
          <p:nvPr/>
        </p:nvSpPr>
        <p:spPr bwMode="auto">
          <a:xfrm>
            <a:off x="2269375" y="2926080"/>
            <a:ext cx="1402080"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공동 소유 </a:t>
            </a:r>
            <a:r>
              <a:rPr kumimoji="1" lang="en-US" altLang="ko-KR" kern="0" dirty="0" smtClean="0">
                <a:solidFill>
                  <a:schemeClr val="bg1"/>
                </a:solidFill>
                <a:latin typeface="맑은 고딕" panose="020B0503020000020004" pitchFamily="50" charset="-127"/>
              </a:rPr>
              <a:t>NFT</a:t>
            </a:r>
            <a:endParaRPr kumimoji="1" lang="ko-KR" altLang="en-US" kern="0" dirty="0">
              <a:solidFill>
                <a:schemeClr val="bg1"/>
              </a:solidFill>
              <a:latin typeface="맑은 고딕" panose="020B0503020000020004" pitchFamily="50" charset="-127"/>
            </a:endParaRPr>
          </a:p>
        </p:txBody>
      </p:sp>
      <p:sp>
        <p:nvSpPr>
          <p:cNvPr id="19" name="Rectangle 37"/>
          <p:cNvSpPr>
            <a:spLocks noChangeArrowheads="1"/>
          </p:cNvSpPr>
          <p:nvPr/>
        </p:nvSpPr>
        <p:spPr bwMode="auto">
          <a:xfrm>
            <a:off x="3843251" y="2926080"/>
            <a:ext cx="1402080"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내 </a:t>
            </a:r>
            <a:r>
              <a:rPr kumimoji="1" lang="en-US" altLang="ko-KR" kern="0" dirty="0" err="1" smtClean="0">
                <a:solidFill>
                  <a:schemeClr val="bg1"/>
                </a:solidFill>
                <a:latin typeface="맑은 고딕" panose="020B0503020000020004" pitchFamily="50" charset="-127"/>
              </a:rPr>
              <a:t>SubDao</a:t>
            </a:r>
            <a:endParaRPr kumimoji="1" lang="ko-KR" altLang="en-US" kern="0" dirty="0">
              <a:solidFill>
                <a:schemeClr val="bg1"/>
              </a:solidFill>
              <a:latin typeface="맑은 고딕" panose="020B0503020000020004" pitchFamily="50" charset="-127"/>
            </a:endParaRPr>
          </a:p>
        </p:txBody>
      </p:sp>
      <p:sp>
        <p:nvSpPr>
          <p:cNvPr id="20" name="Rectangle 37"/>
          <p:cNvSpPr>
            <a:spLocks noChangeArrowheads="1"/>
          </p:cNvSpPr>
          <p:nvPr/>
        </p:nvSpPr>
        <p:spPr bwMode="auto">
          <a:xfrm>
            <a:off x="5383876" y="2926080"/>
            <a:ext cx="1402080"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smtClean="0">
                <a:solidFill>
                  <a:schemeClr val="bg1"/>
                </a:solidFill>
                <a:latin typeface="맑은 고딕" panose="020B0503020000020004" pitchFamily="50" charset="-127"/>
              </a:rPr>
              <a:t>내역</a:t>
            </a:r>
            <a:endParaRPr kumimoji="1" lang="ko-KR" altLang="en-US" kern="0" dirty="0">
              <a:solidFill>
                <a:schemeClr val="bg1"/>
              </a:solidFill>
              <a:latin typeface="맑은 고딕" panose="020B0503020000020004" pitchFamily="50" charset="-127"/>
            </a:endParaRPr>
          </a:p>
        </p:txBody>
      </p:sp>
      <p:pic>
        <p:nvPicPr>
          <p:cNvPr id="21" name="Picture 1" descr="C:\Users\jihon\Desktop\참고PPT\01\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546030"/>
            <a:ext cx="2109787" cy="51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12828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314" y="2051704"/>
            <a:ext cx="7766857" cy="431570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1.5 </a:t>
            </a:r>
            <a:r>
              <a:rPr lang="ko-KR" altLang="en-US" dirty="0" smtClean="0">
                <a:solidFill>
                  <a:schemeClr val="tx2"/>
                </a:solidFill>
                <a:latin typeface="맑은 고딕" pitchFamily="50" charset="-127"/>
              </a:rPr>
              <a:t>내 정보 </a:t>
            </a:r>
            <a:r>
              <a:rPr lang="en-US" altLang="ko-KR" dirty="0" smtClean="0">
                <a:solidFill>
                  <a:schemeClr val="tx2"/>
                </a:solidFill>
                <a:latin typeface="맑은 고딕" pitchFamily="50" charset="-127"/>
              </a:rPr>
              <a:t>– </a:t>
            </a:r>
            <a:r>
              <a:rPr lang="ko-KR" altLang="en-US" dirty="0" smtClean="0">
                <a:solidFill>
                  <a:schemeClr val="tx2"/>
                </a:solidFill>
                <a:latin typeface="맑은 고딕" pitchFamily="50" charset="-127"/>
              </a:rPr>
              <a:t>공동명의 </a:t>
            </a:r>
            <a:r>
              <a:rPr lang="en-US" altLang="ko-KR" dirty="0" smtClean="0">
                <a:solidFill>
                  <a:schemeClr val="tx2"/>
                </a:solidFill>
                <a:latin typeface="맑은 고딕" pitchFamily="50" charset="-127"/>
              </a:rPr>
              <a:t>NFT</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455920" y="157096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461760" y="1575125"/>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153400" y="1575125"/>
            <a:ext cx="131095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지갑</a:t>
            </a:r>
            <a:r>
              <a:rPr kumimoji="0" lang="en-US" altLang="ko-KR" sz="1400" dirty="0" smtClean="0">
                <a:solidFill>
                  <a:schemeClr val="bg1"/>
                </a:solidFill>
              </a:rPr>
              <a:t>(</a:t>
            </a:r>
            <a:r>
              <a:rPr kumimoji="0" lang="ko-KR" altLang="en-US" sz="1400" dirty="0" err="1" smtClean="0">
                <a:solidFill>
                  <a:schemeClr val="bg1"/>
                </a:solidFill>
              </a:rPr>
              <a:t>내정보</a:t>
            </a:r>
            <a:r>
              <a:rPr kumimoji="0" lang="en-US" altLang="ko-KR" sz="1400" dirty="0" smtClean="0">
                <a:solidFill>
                  <a:schemeClr val="bg1"/>
                </a:solidFill>
              </a:rPr>
              <a:t>)</a:t>
            </a:r>
          </a:p>
        </p:txBody>
      </p:sp>
      <p:sp>
        <p:nvSpPr>
          <p:cNvPr id="16" name="Rectangle 37"/>
          <p:cNvSpPr>
            <a:spLocks noChangeArrowheads="1"/>
          </p:cNvSpPr>
          <p:nvPr/>
        </p:nvSpPr>
        <p:spPr bwMode="auto">
          <a:xfrm>
            <a:off x="7467600" y="1566812"/>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sp>
        <p:nvSpPr>
          <p:cNvPr id="10" name="Rectangle 2"/>
          <p:cNvSpPr txBox="1">
            <a:spLocks noChangeArrowheads="1"/>
          </p:cNvSpPr>
          <p:nvPr/>
        </p:nvSpPr>
        <p:spPr bwMode="auto">
          <a:xfrm>
            <a:off x="296863" y="48280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공동명의 </a:t>
            </a: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의 예시</a:t>
            </a:r>
            <a:endParaRPr lang="ko-KR" altLang="en-US" sz="1800" b="0" kern="0" dirty="0">
              <a:latin typeface="맑은 고딕" panose="020B0503020000020004" pitchFamily="50" charset="-127"/>
            </a:endParaRPr>
          </a:p>
        </p:txBody>
      </p:sp>
      <p:sp>
        <p:nvSpPr>
          <p:cNvPr id="17" name="Rectangle 37"/>
          <p:cNvSpPr>
            <a:spLocks noChangeArrowheads="1"/>
          </p:cNvSpPr>
          <p:nvPr/>
        </p:nvSpPr>
        <p:spPr bwMode="auto">
          <a:xfrm>
            <a:off x="4477897" y="2880360"/>
            <a:ext cx="3904103" cy="640080"/>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NFT </a:t>
            </a:r>
            <a:r>
              <a:rPr kumimoji="1" lang="ko-KR" altLang="en-US" kern="0" dirty="0" smtClean="0">
                <a:solidFill>
                  <a:schemeClr val="bg1"/>
                </a:solidFill>
                <a:latin typeface="맑은 고딕" panose="020B0503020000020004" pitchFamily="50" charset="-127"/>
              </a:rPr>
              <a:t>정보</a:t>
            </a:r>
            <a:r>
              <a:rPr kumimoji="1" lang="en-US" altLang="ko-KR" kern="0" dirty="0" smtClean="0">
                <a:solidFill>
                  <a:schemeClr val="bg1"/>
                </a:solidFill>
                <a:latin typeface="맑은 고딕" panose="020B0503020000020004" pitchFamily="50" charset="-127"/>
              </a:rPr>
              <a:t>(</a:t>
            </a:r>
            <a:r>
              <a:rPr kumimoji="1" lang="ko-KR" altLang="en-US" kern="0" dirty="0" smtClean="0">
                <a:solidFill>
                  <a:schemeClr val="bg1"/>
                </a:solidFill>
                <a:latin typeface="맑은 고딕" panose="020B0503020000020004" pitchFamily="50" charset="-127"/>
              </a:rPr>
              <a:t>자체 정보</a:t>
            </a:r>
            <a:r>
              <a:rPr kumimoji="1" lang="en-US" altLang="ko-KR" kern="0" dirty="0" smtClean="0">
                <a:solidFill>
                  <a:schemeClr val="bg1"/>
                </a:solidFill>
                <a:latin typeface="맑은 고딕" panose="020B0503020000020004" pitchFamily="50" charset="-127"/>
              </a:rPr>
              <a:t>, Price, </a:t>
            </a:r>
            <a:r>
              <a:rPr kumimoji="1" lang="ko-KR" altLang="en-US" kern="0" dirty="0" smtClean="0">
                <a:solidFill>
                  <a:schemeClr val="bg1"/>
                </a:solidFill>
                <a:latin typeface="맑은 고딕" panose="020B0503020000020004" pitchFamily="50" charset="-127"/>
              </a:rPr>
              <a:t>그룹 지갑주소 등</a:t>
            </a:r>
            <a:r>
              <a:rPr kumimoji="1" lang="en-US" altLang="ko-KR" kern="0" dirty="0" smtClean="0">
                <a:solidFill>
                  <a:schemeClr val="bg1"/>
                </a:solidFill>
                <a:latin typeface="맑은 고딕" panose="020B0503020000020004" pitchFamily="50" charset="-127"/>
              </a:rPr>
              <a:t>)</a:t>
            </a:r>
            <a:endParaRPr kumimoji="1" lang="ko-KR" altLang="en-US" kern="0" dirty="0">
              <a:solidFill>
                <a:schemeClr val="bg1"/>
              </a:solidFill>
              <a:latin typeface="맑은 고딕" panose="020B0503020000020004" pitchFamily="50" charset="-127"/>
            </a:endParaRPr>
          </a:p>
        </p:txBody>
      </p:sp>
      <p:sp>
        <p:nvSpPr>
          <p:cNvPr id="18" name="Rectangle 37"/>
          <p:cNvSpPr>
            <a:spLocks noChangeArrowheads="1"/>
          </p:cNvSpPr>
          <p:nvPr/>
        </p:nvSpPr>
        <p:spPr bwMode="auto">
          <a:xfrm>
            <a:off x="4477897" y="3703320"/>
            <a:ext cx="3904103" cy="640080"/>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공동명</a:t>
            </a:r>
            <a:r>
              <a:rPr kumimoji="1" lang="ko-KR" altLang="en-US" kern="0" dirty="0">
                <a:solidFill>
                  <a:schemeClr val="bg1"/>
                </a:solidFill>
                <a:latin typeface="맑은 고딕" panose="020B0503020000020004" pitchFamily="50" charset="-127"/>
              </a:rPr>
              <a:t>의</a:t>
            </a:r>
            <a:r>
              <a:rPr kumimoji="1" lang="ko-KR" altLang="en-US" kern="0" dirty="0" smtClean="0">
                <a:solidFill>
                  <a:schemeClr val="bg1"/>
                </a:solidFill>
                <a:latin typeface="맑은 고딕" panose="020B0503020000020004" pitchFamily="50" charset="-127"/>
              </a:rPr>
              <a:t> 정보</a:t>
            </a:r>
            <a:r>
              <a:rPr kumimoji="1" lang="ko-KR" altLang="en-US" kern="0" dirty="0">
                <a:solidFill>
                  <a:schemeClr val="bg1"/>
                </a:solidFill>
                <a:latin typeface="맑은 고딕" panose="020B0503020000020004" pitchFamily="50" charset="-127"/>
              </a:rPr>
              <a:t> </a:t>
            </a:r>
            <a:r>
              <a:rPr kumimoji="1" lang="en-US" altLang="ko-KR" kern="0" dirty="0" smtClean="0">
                <a:solidFill>
                  <a:schemeClr val="bg1"/>
                </a:solidFill>
                <a:latin typeface="맑은 고딕" panose="020B0503020000020004" pitchFamily="50" charset="-127"/>
              </a:rPr>
              <a:t>(</a:t>
            </a:r>
            <a:r>
              <a:rPr kumimoji="1" lang="ko-KR" altLang="en-US" kern="0" dirty="0" err="1" smtClean="0">
                <a:solidFill>
                  <a:schemeClr val="bg1"/>
                </a:solidFill>
                <a:latin typeface="맑은 고딕" panose="020B0503020000020004" pitchFamily="50" charset="-127"/>
              </a:rPr>
              <a:t>깐부</a:t>
            </a:r>
            <a:r>
              <a:rPr kumimoji="1" lang="ko-KR" altLang="en-US" kern="0" dirty="0" err="1">
                <a:solidFill>
                  <a:schemeClr val="bg1"/>
                </a:solidFill>
                <a:latin typeface="맑은 고딕" panose="020B0503020000020004" pitchFamily="50" charset="-127"/>
              </a:rPr>
              <a:t>들</a:t>
            </a:r>
            <a:r>
              <a:rPr kumimoji="1" lang="en-US" altLang="ko-KR" kern="0" dirty="0" smtClean="0">
                <a:solidFill>
                  <a:schemeClr val="bg1"/>
                </a:solidFill>
                <a:latin typeface="맑은 고딕" panose="020B0503020000020004" pitchFamily="50" charset="-127"/>
              </a:rPr>
              <a:t>, </a:t>
            </a:r>
            <a:r>
              <a:rPr kumimoji="1" lang="ko-KR" altLang="en-US" kern="0" dirty="0" smtClean="0">
                <a:solidFill>
                  <a:schemeClr val="bg1"/>
                </a:solidFill>
                <a:latin typeface="맑은 고딕" panose="020B0503020000020004" pitchFamily="50" charset="-127"/>
              </a:rPr>
              <a:t>각 </a:t>
            </a:r>
            <a:r>
              <a:rPr kumimoji="1" lang="ko-KR" altLang="en-US" kern="0" dirty="0" err="1" smtClean="0">
                <a:solidFill>
                  <a:schemeClr val="bg1"/>
                </a:solidFill>
                <a:latin typeface="맑은 고딕" panose="020B0503020000020004" pitchFamily="50" charset="-127"/>
              </a:rPr>
              <a:t>지분율</a:t>
            </a:r>
            <a:r>
              <a:rPr kumimoji="1" lang="ko-KR" altLang="en-US" kern="0" dirty="0" smtClean="0">
                <a:solidFill>
                  <a:schemeClr val="bg1"/>
                </a:solidFill>
                <a:latin typeface="맑은 고딕" panose="020B0503020000020004" pitchFamily="50" charset="-127"/>
              </a:rPr>
              <a:t> 등</a:t>
            </a:r>
            <a:r>
              <a:rPr kumimoji="1" lang="en-US" altLang="ko-KR" kern="0" dirty="0" smtClean="0">
                <a:solidFill>
                  <a:schemeClr val="bg1"/>
                </a:solidFill>
                <a:latin typeface="맑은 고딕" panose="020B0503020000020004" pitchFamily="50" charset="-127"/>
              </a:rPr>
              <a:t>)</a:t>
            </a:r>
          </a:p>
        </p:txBody>
      </p:sp>
      <p:sp>
        <p:nvSpPr>
          <p:cNvPr id="22" name="Rectangle 37"/>
          <p:cNvSpPr>
            <a:spLocks noChangeArrowheads="1"/>
          </p:cNvSpPr>
          <p:nvPr/>
        </p:nvSpPr>
        <p:spPr bwMode="auto">
          <a:xfrm>
            <a:off x="4477896" y="4494415"/>
            <a:ext cx="3904103" cy="640080"/>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운용 정보 </a:t>
            </a:r>
            <a:r>
              <a:rPr kumimoji="1" lang="en-US" altLang="ko-KR" kern="0" dirty="0" smtClean="0">
                <a:solidFill>
                  <a:schemeClr val="bg1"/>
                </a:solidFill>
                <a:latin typeface="맑은 고딕" panose="020B0503020000020004" pitchFamily="50" charset="-127"/>
              </a:rPr>
              <a:t>(</a:t>
            </a:r>
            <a:r>
              <a:rPr kumimoji="1" lang="ko-KR" altLang="en-US" kern="0" dirty="0" smtClean="0">
                <a:solidFill>
                  <a:schemeClr val="bg1"/>
                </a:solidFill>
                <a:latin typeface="맑은 고딕" panose="020B0503020000020004" pitchFamily="50" charset="-127"/>
              </a:rPr>
              <a:t>매도 방식</a:t>
            </a:r>
            <a:r>
              <a:rPr kumimoji="1" lang="en-US" altLang="ko-KR" kern="0" dirty="0" smtClean="0">
                <a:solidFill>
                  <a:schemeClr val="bg1"/>
                </a:solidFill>
                <a:latin typeface="맑은 고딕" panose="020B0503020000020004" pitchFamily="50" charset="-127"/>
              </a:rPr>
              <a:t>, </a:t>
            </a:r>
            <a:r>
              <a:rPr kumimoji="1" lang="ko-KR" altLang="en-US" kern="0" dirty="0" smtClean="0">
                <a:solidFill>
                  <a:schemeClr val="bg1"/>
                </a:solidFill>
                <a:latin typeface="맑은 고딕" panose="020B0503020000020004" pitchFamily="50" charset="-127"/>
              </a:rPr>
              <a:t>투표 상황 등</a:t>
            </a:r>
            <a:r>
              <a:rPr kumimoji="1" lang="en-US" altLang="ko-KR" kern="0" dirty="0" smtClean="0">
                <a:solidFill>
                  <a:schemeClr val="bg1"/>
                </a:solidFill>
                <a:latin typeface="맑은 고딕" panose="020B0503020000020004" pitchFamily="50" charset="-127"/>
              </a:rPr>
              <a:t>)</a:t>
            </a:r>
          </a:p>
        </p:txBody>
      </p:sp>
      <p:pic>
        <p:nvPicPr>
          <p:cNvPr id="24" name="Picture 1" descr="C:\Users\jihon\Desktop\참고PPT\01\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546030"/>
            <a:ext cx="2109787" cy="51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578520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1.6 NFT </a:t>
            </a:r>
            <a:r>
              <a:rPr lang="ko-KR" altLang="en-US" dirty="0" smtClean="0">
                <a:solidFill>
                  <a:schemeClr val="tx2"/>
                </a:solidFill>
                <a:latin typeface="맑은 고딕" pitchFamily="50" charset="-127"/>
              </a:rPr>
              <a:t>매도 </a:t>
            </a:r>
            <a:r>
              <a:rPr lang="en-US" altLang="ko-KR" dirty="0" smtClean="0">
                <a:solidFill>
                  <a:schemeClr val="tx2"/>
                </a:solidFill>
                <a:latin typeface="맑은 고딕" pitchFamily="50" charset="-127"/>
              </a:rPr>
              <a:t>(</a:t>
            </a:r>
            <a:r>
              <a:rPr lang="ko-KR" altLang="en-US" dirty="0" smtClean="0">
                <a:solidFill>
                  <a:schemeClr val="tx2"/>
                </a:solidFill>
                <a:latin typeface="맑은 고딕" pitchFamily="50" charset="-127"/>
              </a:rPr>
              <a:t>판매</a:t>
            </a:r>
            <a:r>
              <a:rPr lang="en-US" altLang="ko-KR" dirty="0" smtClean="0">
                <a:solidFill>
                  <a:schemeClr val="tx2"/>
                </a:solidFill>
                <a:latin typeface="맑은 고딕" pitchFamily="50" charset="-127"/>
              </a:rPr>
              <a:t>)</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455920" y="157096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461760" y="1575125"/>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153400" y="1575125"/>
            <a:ext cx="131095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지갑</a:t>
            </a:r>
            <a:r>
              <a:rPr kumimoji="0" lang="en-US" altLang="ko-KR" sz="1400" dirty="0" smtClean="0">
                <a:solidFill>
                  <a:schemeClr val="bg1"/>
                </a:solidFill>
              </a:rPr>
              <a:t>(</a:t>
            </a:r>
            <a:r>
              <a:rPr kumimoji="0" lang="ko-KR" altLang="en-US" sz="1400" dirty="0" err="1" smtClean="0">
                <a:solidFill>
                  <a:schemeClr val="bg1"/>
                </a:solidFill>
              </a:rPr>
              <a:t>내정보</a:t>
            </a:r>
            <a:r>
              <a:rPr kumimoji="0" lang="en-US" altLang="ko-KR" sz="1400" dirty="0" smtClean="0">
                <a:solidFill>
                  <a:schemeClr val="bg1"/>
                </a:solidFill>
              </a:rPr>
              <a:t>)</a:t>
            </a:r>
          </a:p>
        </p:txBody>
      </p:sp>
      <p:sp>
        <p:nvSpPr>
          <p:cNvPr id="16" name="Rectangle 37"/>
          <p:cNvSpPr>
            <a:spLocks noChangeArrowheads="1"/>
          </p:cNvSpPr>
          <p:nvPr/>
        </p:nvSpPr>
        <p:spPr bwMode="auto">
          <a:xfrm>
            <a:off x="7467600" y="1566812"/>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sp>
        <p:nvSpPr>
          <p:cNvPr id="10" name="Rectangle 2"/>
          <p:cNvSpPr txBox="1">
            <a:spLocks noChangeArrowheads="1"/>
          </p:cNvSpPr>
          <p:nvPr/>
        </p:nvSpPr>
        <p:spPr bwMode="auto">
          <a:xfrm>
            <a:off x="296863" y="48280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공동 소유하고 있는 </a:t>
            </a: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를 판매하고자 하는 경우</a:t>
            </a:r>
            <a:endParaRPr lang="ko-KR" altLang="en-US" sz="1800" b="0" kern="0" dirty="0">
              <a:latin typeface="맑은 고딕" panose="020B0503020000020004" pitchFamily="50" charset="-127"/>
            </a:endParaRPr>
          </a:p>
        </p:txBody>
      </p:sp>
      <p:sp>
        <p:nvSpPr>
          <p:cNvPr id="11" name="Rectangle 2"/>
          <p:cNvSpPr txBox="1">
            <a:spLocks noChangeArrowheads="1"/>
          </p:cNvSpPr>
          <p:nvPr/>
        </p:nvSpPr>
        <p:spPr bwMode="auto">
          <a:xfrm>
            <a:off x="287164" y="2148840"/>
            <a:ext cx="9312275" cy="3977640"/>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복잡한 </a:t>
            </a:r>
            <a:r>
              <a:rPr lang="ko-KR" altLang="en-US" sz="1800" b="0" kern="0" dirty="0" err="1" smtClean="0">
                <a:latin typeface="맑은 고딕" panose="020B0503020000020004" pitchFamily="50" charset="-127"/>
              </a:rPr>
              <a:t>백앤드</a:t>
            </a:r>
            <a:r>
              <a:rPr lang="ko-KR" altLang="en-US" sz="1800" b="0" kern="0" dirty="0" smtClean="0">
                <a:latin typeface="맑은 고딕" panose="020B0503020000020004" pitchFamily="50" charset="-127"/>
              </a:rPr>
              <a:t> </a:t>
            </a:r>
            <a:r>
              <a:rPr lang="ko-KR" altLang="en-US" sz="1800" b="0" kern="0" dirty="0" err="1" smtClean="0">
                <a:latin typeface="맑은 고딕" panose="020B0503020000020004" pitchFamily="50" charset="-127"/>
              </a:rPr>
              <a:t>로직이나</a:t>
            </a:r>
            <a:r>
              <a:rPr lang="ko-KR" altLang="en-US" sz="1800" b="0" kern="0" dirty="0" smtClean="0">
                <a:latin typeface="맑은 고딕" panose="020B0503020000020004" pitchFamily="50" charset="-127"/>
              </a:rPr>
              <a:t> 스마트 </a:t>
            </a:r>
            <a:r>
              <a:rPr lang="ko-KR" altLang="en-US" sz="1800" b="0" kern="0" dirty="0" err="1" smtClean="0">
                <a:latin typeface="맑은 고딕" panose="020B0503020000020004" pitchFamily="50" charset="-127"/>
              </a:rPr>
              <a:t>컨트랙트가</a:t>
            </a:r>
            <a:r>
              <a:rPr lang="ko-KR" altLang="en-US" sz="1800" b="0" kern="0" dirty="0" smtClean="0">
                <a:latin typeface="맑은 고딕" panose="020B0503020000020004" pitchFamily="50" charset="-127"/>
              </a:rPr>
              <a:t> 필요할 것으로 판단됨</a:t>
            </a:r>
            <a:endParaRPr lang="en-US" altLang="ko-KR" sz="1800" b="0" kern="0" dirty="0" smtClean="0">
              <a:latin typeface="맑은 고딕" panose="020B0503020000020004" pitchFamily="50" charset="-127"/>
            </a:endParaRPr>
          </a:p>
          <a:p>
            <a:pPr>
              <a:defRPr/>
            </a:pPr>
            <a:endParaRPr lang="en-US" altLang="ko-KR" sz="1800" b="0" kern="0" dirty="0" smtClean="0">
              <a:latin typeface="맑은 고딕" panose="020B0503020000020004" pitchFamily="50" charset="-127"/>
            </a:endParaRPr>
          </a:p>
          <a:p>
            <a:pPr marL="342900" indent="-342900">
              <a:buAutoNum type="arabicPeriod"/>
              <a:defRPr/>
            </a:pP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를 매도하고 싶은 경우</a:t>
            </a:r>
            <a:endParaRPr lang="en-US" altLang="ko-KR" sz="1800" b="0" kern="0" dirty="0" smtClean="0">
              <a:latin typeface="맑은 고딕" panose="020B0503020000020004" pitchFamily="50" charset="-127"/>
            </a:endParaRPr>
          </a:p>
          <a:p>
            <a:pPr>
              <a:defRPr/>
            </a:pPr>
            <a:r>
              <a:rPr lang="ko-KR" altLang="en-US" sz="1800" b="0" kern="0" dirty="0" smtClean="0">
                <a:latin typeface="맑은 고딕" panose="020B0503020000020004" pitchFamily="50" charset="-127"/>
              </a:rPr>
              <a:t>투표 이벤트를 발행하여 </a:t>
            </a:r>
            <a:r>
              <a:rPr lang="en-US" altLang="ko-KR" sz="1800" b="0" kern="0" dirty="0" smtClean="0">
                <a:latin typeface="맑은 고딕" panose="020B0503020000020004" pitchFamily="50" charset="-127"/>
              </a:rPr>
              <a:t>2/3 + 1 </a:t>
            </a:r>
            <a:r>
              <a:rPr lang="ko-KR" altLang="en-US" sz="1800" b="0" kern="0" dirty="0" smtClean="0">
                <a:latin typeface="맑은 고딕" panose="020B0503020000020004" pitchFamily="50" charset="-127"/>
              </a:rPr>
              <a:t>명의 </a:t>
            </a:r>
            <a:r>
              <a:rPr lang="ko-KR" altLang="en-US" sz="1800" b="0" kern="0" dirty="0" err="1" smtClean="0">
                <a:latin typeface="맑은 고딕" panose="020B0503020000020004" pitchFamily="50" charset="-127"/>
              </a:rPr>
              <a:t>그룹원이</a:t>
            </a:r>
            <a:r>
              <a:rPr lang="ko-KR" altLang="en-US" sz="1800" b="0" kern="0" dirty="0" smtClean="0">
                <a:latin typeface="맑은 고딕" panose="020B0503020000020004" pitchFamily="50" charset="-127"/>
              </a:rPr>
              <a:t> 동의하면 매도 결행 등의 규칙이 필요</a:t>
            </a:r>
            <a:endParaRPr lang="en-US" altLang="ko-KR" sz="1800" b="0" kern="0" dirty="0" smtClean="0">
              <a:latin typeface="맑은 고딕" panose="020B0503020000020004" pitchFamily="50" charset="-127"/>
            </a:endParaRPr>
          </a:p>
          <a:p>
            <a:pPr>
              <a:defRPr/>
            </a:pPr>
            <a:r>
              <a:rPr lang="ko-KR" altLang="en-US" sz="1800" b="0" kern="0" dirty="0" smtClean="0">
                <a:latin typeface="맑은 고딕" panose="020B0503020000020004" pitchFamily="50" charset="-127"/>
              </a:rPr>
              <a:t>혹은 투표에 의해 목표가</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매도 금액</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을 정해 놓고 시장에 </a:t>
            </a:r>
            <a:r>
              <a:rPr lang="en-US" altLang="ko-KR" sz="1800" b="0" kern="0" dirty="0" smtClean="0">
                <a:latin typeface="맑은 고딕" panose="020B0503020000020004" pitchFamily="50" charset="-127"/>
              </a:rPr>
              <a:t>open ?</a:t>
            </a:r>
          </a:p>
          <a:p>
            <a:pPr>
              <a:defRPr/>
            </a:pPr>
            <a:r>
              <a:rPr lang="ko-KR" altLang="en-US" sz="1800" b="0" kern="0" dirty="0" smtClean="0">
                <a:latin typeface="맑은 고딕" panose="020B0503020000020004" pitchFamily="50" charset="-127"/>
              </a:rPr>
              <a:t>이러한 다양한 매도 규칙은 최초 구매 제안자가 제안 시에 설정하는 것일까</a:t>
            </a:r>
            <a:r>
              <a:rPr lang="en-US" altLang="ko-KR" sz="1800" b="0" kern="0" dirty="0" smtClean="0">
                <a:latin typeface="맑은 고딕" panose="020B0503020000020004" pitchFamily="50" charset="-127"/>
              </a:rPr>
              <a:t>?</a:t>
            </a:r>
          </a:p>
          <a:p>
            <a:pPr>
              <a:defRPr/>
            </a:pPr>
            <a:endParaRPr lang="en-US" altLang="ko-KR" sz="1800" b="0" kern="0" dirty="0">
              <a:latin typeface="맑은 고딕" panose="020B0503020000020004" pitchFamily="50" charset="-127"/>
            </a:endParaRPr>
          </a:p>
          <a:p>
            <a:pPr>
              <a:defRPr/>
            </a:pPr>
            <a:r>
              <a:rPr lang="en-US" altLang="ko-KR" sz="1800" b="0" kern="0" dirty="0" smtClean="0">
                <a:latin typeface="맑은 고딕" panose="020B0503020000020004" pitchFamily="50" charset="-127"/>
              </a:rPr>
              <a:t>2. </a:t>
            </a:r>
            <a:r>
              <a:rPr lang="ko-KR" altLang="en-US" sz="1800" b="0" kern="0" dirty="0" smtClean="0">
                <a:latin typeface="맑은 고딕" panose="020B0503020000020004" pitchFamily="50" charset="-127"/>
              </a:rPr>
              <a:t>공동 명의에서 빠지고 싶은 경우</a:t>
            </a:r>
            <a:endParaRPr lang="en-US" altLang="ko-KR" sz="1800" b="0" kern="0" dirty="0" smtClean="0">
              <a:latin typeface="맑은 고딕" panose="020B0503020000020004" pitchFamily="50" charset="-127"/>
            </a:endParaRPr>
          </a:p>
          <a:p>
            <a:pPr>
              <a:defRPr/>
            </a:pPr>
            <a:r>
              <a:rPr lang="ko-KR" altLang="en-US" sz="1800" b="0" kern="0" dirty="0" smtClean="0">
                <a:latin typeface="맑은 고딕" panose="020B0503020000020004" pitchFamily="50" charset="-127"/>
              </a:rPr>
              <a:t>부득이 공동 명의 </a:t>
            </a:r>
            <a:r>
              <a:rPr lang="ko-KR" altLang="en-US" sz="1800" b="0" kern="0" dirty="0" err="1" smtClean="0">
                <a:latin typeface="맑은 고딕" panose="020B0503020000020004" pitchFamily="50" charset="-127"/>
              </a:rPr>
              <a:t>그룹원에서</a:t>
            </a:r>
            <a:r>
              <a:rPr lang="ko-KR" altLang="en-US" sz="1800" b="0" kern="0" dirty="0" smtClean="0">
                <a:latin typeface="맑은 고딕" panose="020B0503020000020004" pitchFamily="50" charset="-127"/>
              </a:rPr>
              <a:t> 빠지고</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자신의 권리</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지분</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에 해당하는 금액을 </a:t>
            </a:r>
            <a:r>
              <a:rPr lang="ko-KR" altLang="en-US" sz="1800" b="0" kern="0" dirty="0" err="1" smtClean="0">
                <a:latin typeface="맑은 고딕" panose="020B0503020000020004" pitchFamily="50" charset="-127"/>
              </a:rPr>
              <a:t>회수받길</a:t>
            </a:r>
            <a:r>
              <a:rPr lang="ko-KR" altLang="en-US" sz="1800" b="0" kern="0" dirty="0" smtClean="0">
                <a:latin typeface="맑은 고딕" panose="020B0503020000020004" pitchFamily="50" charset="-127"/>
              </a:rPr>
              <a:t> 원하는 경우가 있다</a:t>
            </a:r>
            <a:r>
              <a:rPr lang="en-US" altLang="ko-KR" sz="1800" b="0" kern="0" dirty="0" smtClean="0">
                <a:latin typeface="맑은 고딕" panose="020B0503020000020004" pitchFamily="50" charset="-127"/>
              </a:rPr>
              <a:t>.</a:t>
            </a:r>
          </a:p>
          <a:p>
            <a:pPr>
              <a:defRPr/>
            </a:pPr>
            <a:endParaRPr lang="en-US" altLang="ko-KR" sz="1800" b="0" kern="0" dirty="0" smtClean="0">
              <a:latin typeface="맑은 고딕" panose="020B0503020000020004" pitchFamily="50" charset="-127"/>
            </a:endParaRPr>
          </a:p>
          <a:p>
            <a:pPr>
              <a:defRPr/>
            </a:pPr>
            <a:endParaRPr lang="ko-KR" altLang="en-US" sz="1800" b="0" kern="0" dirty="0">
              <a:latin typeface="맑은 고딕" panose="020B0503020000020004" pitchFamily="50" charset="-127"/>
            </a:endParaRPr>
          </a:p>
        </p:txBody>
      </p:sp>
      <p:pic>
        <p:nvPicPr>
          <p:cNvPr id="15" name="Picture 1" descr="C:\Users\jihon\Desktop\참고PPT\01\0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546030"/>
            <a:ext cx="2109787" cy="51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372704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2047548"/>
            <a:ext cx="7766857" cy="431570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1.6 NFT </a:t>
            </a:r>
            <a:r>
              <a:rPr lang="ko-KR" altLang="en-US" dirty="0" smtClean="0">
                <a:solidFill>
                  <a:schemeClr val="tx2"/>
                </a:solidFill>
                <a:latin typeface="맑은 고딕" pitchFamily="50" charset="-127"/>
              </a:rPr>
              <a:t>매도 </a:t>
            </a:r>
            <a:r>
              <a:rPr lang="en-US" altLang="ko-KR" dirty="0" smtClean="0">
                <a:solidFill>
                  <a:schemeClr val="tx2"/>
                </a:solidFill>
                <a:latin typeface="맑은 고딕" pitchFamily="50" charset="-127"/>
              </a:rPr>
              <a:t>(</a:t>
            </a:r>
            <a:r>
              <a:rPr lang="ko-KR" altLang="en-US" dirty="0" smtClean="0">
                <a:solidFill>
                  <a:schemeClr val="tx2"/>
                </a:solidFill>
                <a:latin typeface="맑은 고딕" pitchFamily="50" charset="-127"/>
              </a:rPr>
              <a:t>판매</a:t>
            </a:r>
            <a:r>
              <a:rPr lang="en-US" altLang="ko-KR" dirty="0" smtClean="0">
                <a:solidFill>
                  <a:schemeClr val="tx2"/>
                </a:solidFill>
                <a:latin typeface="맑은 고딕" pitchFamily="50" charset="-127"/>
              </a:rPr>
              <a:t>)</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455920" y="157096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461760" y="1575125"/>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153400" y="1575125"/>
            <a:ext cx="131095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지갑</a:t>
            </a:r>
            <a:r>
              <a:rPr kumimoji="0" lang="en-US" altLang="ko-KR" sz="1400" dirty="0" smtClean="0">
                <a:solidFill>
                  <a:schemeClr val="bg1"/>
                </a:solidFill>
              </a:rPr>
              <a:t>(</a:t>
            </a:r>
            <a:r>
              <a:rPr kumimoji="0" lang="ko-KR" altLang="en-US" sz="1400" dirty="0" err="1" smtClean="0">
                <a:solidFill>
                  <a:schemeClr val="bg1"/>
                </a:solidFill>
              </a:rPr>
              <a:t>내정보</a:t>
            </a:r>
            <a:r>
              <a:rPr kumimoji="0" lang="en-US" altLang="ko-KR" sz="1400" dirty="0" smtClean="0">
                <a:solidFill>
                  <a:schemeClr val="bg1"/>
                </a:solidFill>
              </a:rPr>
              <a:t>)</a:t>
            </a:r>
          </a:p>
        </p:txBody>
      </p:sp>
      <p:sp>
        <p:nvSpPr>
          <p:cNvPr id="16" name="Rectangle 37"/>
          <p:cNvSpPr>
            <a:spLocks noChangeArrowheads="1"/>
          </p:cNvSpPr>
          <p:nvPr/>
        </p:nvSpPr>
        <p:spPr bwMode="auto">
          <a:xfrm>
            <a:off x="7467600" y="1566812"/>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sp>
        <p:nvSpPr>
          <p:cNvPr id="10" name="Rectangle 2"/>
          <p:cNvSpPr txBox="1">
            <a:spLocks noChangeArrowheads="1"/>
          </p:cNvSpPr>
          <p:nvPr/>
        </p:nvSpPr>
        <p:spPr bwMode="auto">
          <a:xfrm>
            <a:off x="296863" y="48280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매도 요청 혹은 공동명의 탈퇴 요청 예시</a:t>
            </a:r>
            <a:endParaRPr lang="ko-KR" altLang="en-US" sz="1800" b="0" kern="0" dirty="0">
              <a:latin typeface="맑은 고딕" panose="020B0503020000020004" pitchFamily="50" charset="-127"/>
            </a:endParaRPr>
          </a:p>
        </p:txBody>
      </p:sp>
      <p:sp>
        <p:nvSpPr>
          <p:cNvPr id="19" name="Rectangle 37"/>
          <p:cNvSpPr>
            <a:spLocks noChangeArrowheads="1"/>
          </p:cNvSpPr>
          <p:nvPr/>
        </p:nvSpPr>
        <p:spPr bwMode="auto">
          <a:xfrm>
            <a:off x="4483440" y="4617720"/>
            <a:ext cx="1540589" cy="320040"/>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매도 제안</a:t>
            </a:r>
            <a:endParaRPr kumimoji="1" lang="ko-KR" altLang="en-US" kern="0" dirty="0">
              <a:solidFill>
                <a:schemeClr val="bg1"/>
              </a:solidFill>
              <a:latin typeface="맑은 고딕" panose="020B0503020000020004" pitchFamily="50" charset="-127"/>
            </a:endParaRPr>
          </a:p>
        </p:txBody>
      </p:sp>
      <p:sp>
        <p:nvSpPr>
          <p:cNvPr id="15" name="Rectangle 37"/>
          <p:cNvSpPr>
            <a:spLocks noChangeArrowheads="1"/>
          </p:cNvSpPr>
          <p:nvPr/>
        </p:nvSpPr>
        <p:spPr bwMode="auto">
          <a:xfrm>
            <a:off x="6073887" y="4617720"/>
            <a:ext cx="1759473" cy="320040"/>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smtClean="0">
                <a:solidFill>
                  <a:schemeClr val="bg1"/>
                </a:solidFill>
                <a:latin typeface="맑은 고딕" panose="020B0503020000020004" pitchFamily="50" charset="-127"/>
              </a:rPr>
              <a:t>공동명의 탈퇴 요청</a:t>
            </a:r>
            <a:endParaRPr kumimoji="1" lang="ko-KR" altLang="en-US" kern="0" dirty="0">
              <a:solidFill>
                <a:schemeClr val="bg1"/>
              </a:solidFill>
              <a:latin typeface="맑은 고딕" panose="020B0503020000020004" pitchFamily="50" charset="-127"/>
            </a:endParaRPr>
          </a:p>
        </p:txBody>
      </p:sp>
      <p:sp>
        <p:nvSpPr>
          <p:cNvPr id="20" name="Rectangle 37"/>
          <p:cNvSpPr>
            <a:spLocks noChangeArrowheads="1"/>
          </p:cNvSpPr>
          <p:nvPr/>
        </p:nvSpPr>
        <p:spPr bwMode="auto">
          <a:xfrm>
            <a:off x="4483439" y="5067992"/>
            <a:ext cx="3441361" cy="921328"/>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관련 정책은 최초 제안자 혹은 </a:t>
            </a:r>
            <a:r>
              <a:rPr kumimoji="1" lang="ko-KR" altLang="en-US" kern="0" dirty="0" err="1" smtClean="0">
                <a:solidFill>
                  <a:schemeClr val="bg1"/>
                </a:solidFill>
                <a:latin typeface="맑은 고딕" panose="020B0503020000020004" pitchFamily="50" charset="-127"/>
              </a:rPr>
              <a:t>그룹원이</a:t>
            </a:r>
            <a:r>
              <a:rPr kumimoji="1" lang="ko-KR" altLang="en-US" kern="0" dirty="0" smtClean="0">
                <a:solidFill>
                  <a:schemeClr val="bg1"/>
                </a:solidFill>
                <a:latin typeface="맑은 고딕" panose="020B0503020000020004" pitchFamily="50" charset="-127"/>
              </a:rPr>
              <a:t> 최초 제안 시점 혹은 </a:t>
            </a:r>
            <a:r>
              <a:rPr kumimoji="1" lang="ko-KR" altLang="en-US" kern="0" dirty="0" err="1" smtClean="0">
                <a:solidFill>
                  <a:schemeClr val="bg1"/>
                </a:solidFill>
                <a:latin typeface="맑은 고딕" panose="020B0503020000020004" pitchFamily="50" charset="-127"/>
              </a:rPr>
              <a:t>그룹원</a:t>
            </a:r>
            <a:r>
              <a:rPr kumimoji="1" lang="ko-KR" altLang="en-US" kern="0" dirty="0" smtClean="0">
                <a:solidFill>
                  <a:schemeClr val="bg1"/>
                </a:solidFill>
                <a:latin typeface="맑은 고딕" panose="020B0503020000020004" pitchFamily="50" charset="-127"/>
              </a:rPr>
              <a:t> 모집 완료 시점에서 결정</a:t>
            </a:r>
            <a:endParaRPr kumimoji="1" lang="en-US" altLang="ko-KR" kern="0" dirty="0">
              <a:solidFill>
                <a:schemeClr val="bg1"/>
              </a:solidFill>
              <a:latin typeface="맑은 고딕" panose="020B0503020000020004" pitchFamily="50" charset="-127"/>
            </a:endParaRPr>
          </a:p>
        </p:txBody>
      </p:sp>
      <p:sp>
        <p:nvSpPr>
          <p:cNvPr id="21" name="Rectangle 37"/>
          <p:cNvSpPr>
            <a:spLocks noChangeArrowheads="1"/>
          </p:cNvSpPr>
          <p:nvPr/>
        </p:nvSpPr>
        <p:spPr bwMode="auto">
          <a:xfrm>
            <a:off x="6073887" y="4206240"/>
            <a:ext cx="2079513" cy="320040"/>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임대 </a:t>
            </a:r>
            <a:r>
              <a:rPr kumimoji="1" lang="en-US" altLang="ko-KR" kern="0" dirty="0" smtClean="0">
                <a:solidFill>
                  <a:schemeClr val="bg1"/>
                </a:solidFill>
                <a:latin typeface="맑은 고딕" panose="020B0503020000020004" pitchFamily="50" charset="-127"/>
              </a:rPr>
              <a:t>pool </a:t>
            </a:r>
            <a:r>
              <a:rPr kumimoji="1" lang="ko-KR" altLang="en-US" kern="0" dirty="0" smtClean="0">
                <a:solidFill>
                  <a:schemeClr val="bg1"/>
                </a:solidFill>
                <a:latin typeface="맑은 고딕" panose="020B0503020000020004" pitchFamily="50" charset="-127"/>
              </a:rPr>
              <a:t>등록 제안</a:t>
            </a:r>
            <a:endParaRPr kumimoji="1" lang="ko-KR" altLang="en-US" kern="0" dirty="0">
              <a:solidFill>
                <a:schemeClr val="bg1"/>
              </a:solidFill>
              <a:latin typeface="맑은 고딕" panose="020B0503020000020004" pitchFamily="50" charset="-127"/>
            </a:endParaRPr>
          </a:p>
        </p:txBody>
      </p:sp>
      <p:sp>
        <p:nvSpPr>
          <p:cNvPr id="22" name="Rectangle 37"/>
          <p:cNvSpPr>
            <a:spLocks noChangeArrowheads="1"/>
          </p:cNvSpPr>
          <p:nvPr/>
        </p:nvSpPr>
        <p:spPr bwMode="auto">
          <a:xfrm>
            <a:off x="7886192" y="4617720"/>
            <a:ext cx="1759473" cy="320040"/>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dirty="0" smtClean="0">
                <a:solidFill>
                  <a:schemeClr val="bg1"/>
                </a:solidFill>
                <a:latin typeface="맑은 고딕" panose="020B0503020000020004" pitchFamily="50" charset="-127"/>
              </a:rPr>
              <a:t>지분 변경 요청</a:t>
            </a:r>
            <a:endParaRPr kumimoji="1" lang="ko-KR" altLang="en-US" kern="0" dirty="0">
              <a:solidFill>
                <a:schemeClr val="bg1"/>
              </a:solidFill>
              <a:latin typeface="맑은 고딕" panose="020B0503020000020004" pitchFamily="50" charset="-127"/>
            </a:endParaRPr>
          </a:p>
        </p:txBody>
      </p:sp>
      <p:pic>
        <p:nvPicPr>
          <p:cNvPr id="24" name="Picture 1" descr="C:\Users\jihon\Desktop\참고PPT\01\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546030"/>
            <a:ext cx="2109787" cy="51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219339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9"/>
          <p:cNvSpPr>
            <a:spLocks noChangeArrowheads="1"/>
          </p:cNvSpPr>
          <p:nvPr/>
        </p:nvSpPr>
        <p:spPr bwMode="gray">
          <a:xfrm>
            <a:off x="900113" y="2614613"/>
            <a:ext cx="4327525" cy="460375"/>
          </a:xfrm>
          <a:prstGeom prst="rect">
            <a:avLst/>
          </a:prstGeom>
          <a:solidFill>
            <a:srgbClr val="000066"/>
          </a:solidFill>
          <a:ln w="9525" algn="ctr">
            <a:solidFill>
              <a:srgbClr val="000066"/>
            </a:solidFill>
            <a:miter lim="800000"/>
            <a:headEnd/>
            <a:tailEnd/>
          </a:ln>
        </p:spPr>
        <p:txBody>
          <a:bodyPr anchor="ctr"/>
          <a:lstStyle/>
          <a:p>
            <a:pPr defTabSz="957263">
              <a:lnSpc>
                <a:spcPct val="90000"/>
              </a:lnSpc>
            </a:pPr>
            <a:endParaRPr lang="ko-KR" altLang="en-US" sz="1600">
              <a:solidFill>
                <a:schemeClr val="tx1"/>
              </a:solidFill>
              <a:latin typeface="맑은 고딕" pitchFamily="50" charset="-127"/>
            </a:endParaRPr>
          </a:p>
        </p:txBody>
      </p:sp>
      <p:sp>
        <p:nvSpPr>
          <p:cNvPr id="16387" name="Line 8"/>
          <p:cNvSpPr>
            <a:spLocks noChangeShapeType="1"/>
          </p:cNvSpPr>
          <p:nvPr/>
        </p:nvSpPr>
        <p:spPr bwMode="auto">
          <a:xfrm>
            <a:off x="896938" y="1927225"/>
            <a:ext cx="3678237"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wrap="none" lIns="0" tIns="0" rIns="0" bIns="0" anchor="ctr"/>
          <a:lstStyle/>
          <a:p>
            <a:endParaRPr lang="ko-KR" altLang="en-US"/>
          </a:p>
        </p:txBody>
      </p:sp>
      <p:sp>
        <p:nvSpPr>
          <p:cNvPr id="16388" name="Rectangle 9"/>
          <p:cNvSpPr>
            <a:spLocks noChangeArrowheads="1"/>
          </p:cNvSpPr>
          <p:nvPr/>
        </p:nvSpPr>
        <p:spPr bwMode="auto">
          <a:xfrm>
            <a:off x="1076325" y="1530350"/>
            <a:ext cx="457200" cy="2746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999999"/>
                  </a:outerShdw>
                </a:effectLst>
              </a14:hiddenEffects>
            </a:ext>
          </a:extLst>
        </p:spPr>
        <p:txBody>
          <a:bodyPr wrap="none" lIns="0" tIns="0" rIns="0" bIns="0">
            <a:spAutoFit/>
          </a:bodyPr>
          <a:lstStyle/>
          <a:p>
            <a:pPr algn="ctr" eaLnBrk="1" latinLnBrk="1" hangingPunct="1">
              <a:spcBef>
                <a:spcPct val="30000"/>
              </a:spcBef>
            </a:pPr>
            <a:r>
              <a:rPr kumimoji="1" lang="ko-KR" altLang="en-US" sz="1800">
                <a:solidFill>
                  <a:schemeClr val="tx1"/>
                </a:solidFill>
              </a:rPr>
              <a:t>목차</a:t>
            </a:r>
          </a:p>
        </p:txBody>
      </p:sp>
      <p:sp>
        <p:nvSpPr>
          <p:cNvPr id="16389" name="Text Box 4"/>
          <p:cNvSpPr txBox="1">
            <a:spLocks noChangeArrowheads="1"/>
          </p:cNvSpPr>
          <p:nvPr/>
        </p:nvSpPr>
        <p:spPr bwMode="gray">
          <a:xfrm>
            <a:off x="992188" y="2097088"/>
            <a:ext cx="5378450" cy="261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marL="355600" indent="-355600">
              <a:defRPr sz="1400" b="1">
                <a:solidFill>
                  <a:srgbClr val="000000"/>
                </a:solidFill>
                <a:latin typeface="Arial" pitchFamily="34" charset="0"/>
                <a:ea typeface="맑은 고딕" pitchFamily="50" charset="-127"/>
              </a:defRPr>
            </a:lvl1pPr>
            <a:lvl2pPr marL="742950" indent="-285750">
              <a:defRPr sz="1400" b="1">
                <a:solidFill>
                  <a:srgbClr val="000000"/>
                </a:solidFill>
                <a:latin typeface="Arial" pitchFamily="34" charset="0"/>
                <a:ea typeface="맑은 고딕" pitchFamily="50" charset="-127"/>
              </a:defRPr>
            </a:lvl2pPr>
            <a:lvl3pPr marL="1143000" indent="-228600">
              <a:defRPr sz="1400" b="1">
                <a:solidFill>
                  <a:srgbClr val="000000"/>
                </a:solidFill>
                <a:latin typeface="Arial" pitchFamily="34" charset="0"/>
                <a:ea typeface="맑은 고딕" pitchFamily="50" charset="-127"/>
              </a:defRPr>
            </a:lvl3pPr>
            <a:lvl4pPr marL="1600200" indent="-228600">
              <a:defRPr sz="1400" b="1">
                <a:solidFill>
                  <a:srgbClr val="000000"/>
                </a:solidFill>
                <a:latin typeface="Arial" pitchFamily="34" charset="0"/>
                <a:ea typeface="맑은 고딕" pitchFamily="50" charset="-127"/>
              </a:defRPr>
            </a:lvl4pPr>
            <a:lvl5pPr marL="2057400" indent="-228600">
              <a:defRPr sz="1400" b="1">
                <a:solidFill>
                  <a:srgbClr val="000000"/>
                </a:solidFill>
                <a:latin typeface="Arial" pitchFamily="34" charset="0"/>
                <a:ea typeface="맑은 고딕" pitchFamily="50" charset="-127"/>
              </a:defRPr>
            </a:lvl5pPr>
            <a:lvl6pPr marL="2514600" indent="-228600"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pPr>
              <a:lnSpc>
                <a:spcPct val="125000"/>
              </a:lnSpc>
              <a:spcBef>
                <a:spcPct val="100000"/>
              </a:spcBef>
              <a:buFontTx/>
              <a:buAutoNum type="arabicPeriod"/>
            </a:pPr>
            <a:r>
              <a:rPr lang="en-US" altLang="ko-KR" sz="1600" dirty="0" smtClean="0">
                <a:solidFill>
                  <a:schemeClr val="tx1"/>
                </a:solidFill>
                <a:latin typeface="맑은 고딕" pitchFamily="50" charset="-127"/>
              </a:rPr>
              <a:t>[1</a:t>
            </a:r>
            <a:r>
              <a:rPr lang="ko-KR" altLang="en-US" sz="1600" dirty="0" smtClean="0">
                <a:solidFill>
                  <a:schemeClr val="tx1"/>
                </a:solidFill>
                <a:latin typeface="맑은 고딕" pitchFamily="50" charset="-127"/>
              </a:rPr>
              <a:t>단계</a:t>
            </a:r>
            <a:r>
              <a:rPr lang="en-US" altLang="ko-KR" sz="1600" dirty="0" smtClean="0">
                <a:solidFill>
                  <a:schemeClr val="tx1"/>
                </a:solidFill>
                <a:latin typeface="맑은 고딕" pitchFamily="50" charset="-127"/>
              </a:rPr>
              <a:t>] </a:t>
            </a:r>
            <a:r>
              <a:rPr lang="ko-KR" altLang="en-US" sz="1600" dirty="0" smtClean="0">
                <a:solidFill>
                  <a:schemeClr val="tx1"/>
                </a:solidFill>
                <a:latin typeface="맑은 고딕" pitchFamily="50" charset="-127"/>
              </a:rPr>
              <a:t>서비스 예시</a:t>
            </a:r>
            <a:endParaRPr lang="en-US" altLang="ko-KR" sz="1600" dirty="0" smtClean="0">
              <a:solidFill>
                <a:schemeClr val="tx1"/>
              </a:solidFill>
              <a:latin typeface="맑은 고딕" pitchFamily="50" charset="-127"/>
            </a:endParaRPr>
          </a:p>
          <a:p>
            <a:pPr>
              <a:lnSpc>
                <a:spcPct val="125000"/>
              </a:lnSpc>
              <a:spcBef>
                <a:spcPct val="100000"/>
              </a:spcBef>
              <a:buFontTx/>
              <a:buAutoNum type="arabicPeriod"/>
            </a:pPr>
            <a:r>
              <a:rPr lang="en-US" altLang="ko-KR" sz="1600" dirty="0" smtClean="0">
                <a:solidFill>
                  <a:schemeClr val="bg1"/>
                </a:solidFill>
                <a:latin typeface="맑은 고딕" pitchFamily="50" charset="-127"/>
              </a:rPr>
              <a:t>[2</a:t>
            </a:r>
            <a:r>
              <a:rPr lang="ko-KR" altLang="en-US" sz="1600" dirty="0" smtClean="0">
                <a:solidFill>
                  <a:schemeClr val="bg1"/>
                </a:solidFill>
                <a:latin typeface="맑은 고딕" pitchFamily="50" charset="-127"/>
              </a:rPr>
              <a:t>단계</a:t>
            </a:r>
            <a:r>
              <a:rPr lang="en-US" altLang="ko-KR" sz="1600" dirty="0" smtClean="0">
                <a:solidFill>
                  <a:schemeClr val="bg1"/>
                </a:solidFill>
                <a:latin typeface="맑은 고딕" pitchFamily="50" charset="-127"/>
              </a:rPr>
              <a:t>] </a:t>
            </a:r>
            <a:r>
              <a:rPr lang="ko-KR" altLang="en-US" sz="1600" dirty="0" smtClean="0">
                <a:solidFill>
                  <a:schemeClr val="bg1"/>
                </a:solidFill>
                <a:latin typeface="맑은 고딕" pitchFamily="50" charset="-127"/>
              </a:rPr>
              <a:t>서비스 예시</a:t>
            </a:r>
            <a:endParaRPr lang="en-US" altLang="ko-KR" sz="1600" dirty="0">
              <a:solidFill>
                <a:schemeClr val="bg1"/>
              </a:solidFill>
              <a:latin typeface="맑은 고딕" pitchFamily="50" charset="-127"/>
            </a:endParaRPr>
          </a:p>
          <a:p>
            <a:pPr>
              <a:lnSpc>
                <a:spcPct val="125000"/>
              </a:lnSpc>
              <a:spcBef>
                <a:spcPct val="100000"/>
              </a:spcBef>
              <a:buFontTx/>
              <a:buAutoNum type="arabicPeriod"/>
            </a:pPr>
            <a:r>
              <a:rPr lang="ko-KR" altLang="en-US" sz="1600" dirty="0" smtClean="0">
                <a:solidFill>
                  <a:schemeClr val="tx1"/>
                </a:solidFill>
                <a:latin typeface="맑은 고딕" pitchFamily="50" charset="-127"/>
              </a:rPr>
              <a:t>아키텍</a:t>
            </a:r>
            <a:r>
              <a:rPr lang="ko-KR" altLang="en-US" sz="1600" dirty="0">
                <a:solidFill>
                  <a:schemeClr val="tx1"/>
                </a:solidFill>
                <a:latin typeface="맑은 고딕" pitchFamily="50" charset="-127"/>
              </a:rPr>
              <a:t>처</a:t>
            </a:r>
            <a:endParaRPr lang="en-US" altLang="ko-KR" sz="1600" dirty="0">
              <a:solidFill>
                <a:schemeClr val="tx1"/>
              </a:solidFill>
              <a:latin typeface="맑은 고딕" pitchFamily="50" charset="-127"/>
            </a:endParaRPr>
          </a:p>
          <a:p>
            <a:pPr>
              <a:lnSpc>
                <a:spcPct val="125000"/>
              </a:lnSpc>
              <a:spcBef>
                <a:spcPct val="100000"/>
              </a:spcBef>
              <a:buFontTx/>
              <a:buAutoNum type="arabicPeriod"/>
            </a:pPr>
            <a:r>
              <a:rPr lang="ko-KR" altLang="en-US" sz="1600" dirty="0" smtClean="0">
                <a:solidFill>
                  <a:schemeClr val="tx1"/>
                </a:solidFill>
                <a:latin typeface="맑은 고딕" pitchFamily="50" charset="-127"/>
              </a:rPr>
              <a:t>일</a:t>
            </a:r>
            <a:r>
              <a:rPr lang="ko-KR" altLang="en-US" sz="1600" dirty="0">
                <a:solidFill>
                  <a:schemeClr val="tx1"/>
                </a:solidFill>
                <a:latin typeface="맑은 고딕" pitchFamily="50" charset="-127"/>
              </a:rPr>
              <a:t>정</a:t>
            </a:r>
            <a:endParaRPr lang="en-US" altLang="ko-KR" sz="1600" dirty="0">
              <a:solidFill>
                <a:schemeClr val="tx1"/>
              </a:solidFill>
              <a:latin typeface="맑은 고딕" pitchFamily="50" charset="-127"/>
            </a:endParaRPr>
          </a:p>
          <a:p>
            <a:pPr>
              <a:lnSpc>
                <a:spcPct val="125000"/>
              </a:lnSpc>
              <a:spcBef>
                <a:spcPct val="100000"/>
              </a:spcBef>
              <a:buFontTx/>
              <a:buAutoNum type="arabicPeriod"/>
            </a:pPr>
            <a:endParaRPr lang="en-US" altLang="ko-KR" sz="1600" dirty="0">
              <a:solidFill>
                <a:schemeClr val="tx1"/>
              </a:solidFill>
              <a:latin typeface="맑은 고딕" pitchFamily="50" charset="-127"/>
            </a:endParaRPr>
          </a:p>
        </p:txBody>
      </p:sp>
    </p:spTree>
    <p:extLst>
      <p:ext uri="{BB962C8B-B14F-4D97-AF65-F5344CB8AC3E}">
        <p14:creationId xmlns:p14="http://schemas.microsoft.com/office/powerpoint/2010/main" val="358007523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2.1</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455920" y="157096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461760" y="1575125"/>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153400" y="1575125"/>
            <a:ext cx="131095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지갑</a:t>
            </a:r>
            <a:r>
              <a:rPr kumimoji="0" lang="en-US" altLang="ko-KR" sz="1400" dirty="0" smtClean="0">
                <a:solidFill>
                  <a:schemeClr val="bg1"/>
                </a:solidFill>
              </a:rPr>
              <a:t>(</a:t>
            </a:r>
            <a:r>
              <a:rPr kumimoji="0" lang="ko-KR" altLang="en-US" sz="1400" dirty="0" err="1" smtClean="0">
                <a:solidFill>
                  <a:schemeClr val="bg1"/>
                </a:solidFill>
              </a:rPr>
              <a:t>내정보</a:t>
            </a:r>
            <a:r>
              <a:rPr kumimoji="0" lang="en-US" altLang="ko-KR" sz="1400" dirty="0" smtClean="0">
                <a:solidFill>
                  <a:schemeClr val="bg1"/>
                </a:solidFill>
              </a:rPr>
              <a:t>)</a:t>
            </a:r>
          </a:p>
        </p:txBody>
      </p:sp>
      <p:sp>
        <p:nvSpPr>
          <p:cNvPr id="16" name="Rectangle 37"/>
          <p:cNvSpPr>
            <a:spLocks noChangeArrowheads="1"/>
          </p:cNvSpPr>
          <p:nvPr/>
        </p:nvSpPr>
        <p:spPr bwMode="auto">
          <a:xfrm>
            <a:off x="7467600" y="1566812"/>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sp>
        <p:nvSpPr>
          <p:cNvPr id="26" name="Rectangle 2"/>
          <p:cNvSpPr txBox="1">
            <a:spLocks noChangeArrowheads="1"/>
          </p:cNvSpPr>
          <p:nvPr/>
        </p:nvSpPr>
        <p:spPr bwMode="auto">
          <a:xfrm>
            <a:off x="296863" y="48280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en-US" altLang="ko-KR" sz="1800" b="0" kern="0" dirty="0" smtClean="0">
                <a:latin typeface="맑은 고딕" panose="020B0503020000020004" pitchFamily="50" charset="-127"/>
              </a:rPr>
              <a:t>2</a:t>
            </a:r>
            <a:r>
              <a:rPr lang="ko-KR" altLang="en-US" sz="1800" b="0" kern="0" dirty="0" smtClean="0">
                <a:latin typeface="맑은 고딕" panose="020B0503020000020004" pitchFamily="50" charset="-127"/>
              </a:rPr>
              <a:t>단계는 아이디어 구체화 및 논의가 필요 </a:t>
            </a:r>
            <a:r>
              <a:rPr lang="en-US" altLang="ko-KR" sz="1800" b="0" kern="0" dirty="0" smtClean="0">
                <a:latin typeface="맑은 고딕" panose="020B0503020000020004" pitchFamily="50" charset="-127"/>
              </a:rPr>
              <a:t>: DAO</a:t>
            </a:r>
            <a:endParaRPr lang="ko-KR" altLang="en-US" sz="1800" b="0" kern="0" dirty="0">
              <a:latin typeface="맑은 고딕" panose="020B0503020000020004" pitchFamily="50" charset="-127"/>
            </a:endParaRPr>
          </a:p>
        </p:txBody>
      </p:sp>
      <p:sp>
        <p:nvSpPr>
          <p:cNvPr id="27" name="Rectangle 37"/>
          <p:cNvSpPr>
            <a:spLocks noChangeArrowheads="1"/>
          </p:cNvSpPr>
          <p:nvPr/>
        </p:nvSpPr>
        <p:spPr bwMode="auto">
          <a:xfrm>
            <a:off x="4450080" y="1562655"/>
            <a:ext cx="93360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err="1" smtClean="0">
                <a:solidFill>
                  <a:schemeClr val="bg1"/>
                </a:solidFill>
                <a:latin typeface="맑은 고딕" panose="020B0503020000020004" pitchFamily="50" charset="-127"/>
              </a:rPr>
              <a:t>SubDAO</a:t>
            </a:r>
            <a:endParaRPr kumimoji="1" lang="ko-KR" altLang="en-US" kern="0" dirty="0">
              <a:solidFill>
                <a:schemeClr val="bg1"/>
              </a:solidFill>
              <a:latin typeface="맑은 고딕" panose="020B0503020000020004" pitchFamily="50" charset="-127"/>
            </a:endParaRPr>
          </a:p>
        </p:txBody>
      </p:sp>
      <p:sp>
        <p:nvSpPr>
          <p:cNvPr id="28" name="Rectangle 37"/>
          <p:cNvSpPr>
            <a:spLocks noChangeArrowheads="1"/>
          </p:cNvSpPr>
          <p:nvPr/>
        </p:nvSpPr>
        <p:spPr bwMode="auto">
          <a:xfrm>
            <a:off x="3444240" y="1556959"/>
            <a:ext cx="93360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smtClean="0">
                <a:solidFill>
                  <a:schemeClr val="bg1"/>
                </a:solidFill>
                <a:latin typeface="맑은 고딕" panose="020B0503020000020004" pitchFamily="50" charset="-127"/>
              </a:rPr>
              <a:t>스테이</a:t>
            </a:r>
            <a:r>
              <a:rPr kumimoji="1" lang="ko-KR" altLang="en-US" kern="0">
                <a:solidFill>
                  <a:schemeClr val="bg1"/>
                </a:solidFill>
                <a:latin typeface="맑은 고딕" panose="020B0503020000020004" pitchFamily="50" charset="-127"/>
              </a:rPr>
              <a:t>킹</a:t>
            </a:r>
            <a:endParaRPr kumimoji="1" lang="ko-KR" altLang="en-US" kern="0" dirty="0">
              <a:solidFill>
                <a:schemeClr val="bg1"/>
              </a:solidFill>
              <a:latin typeface="맑은 고딕" panose="020B0503020000020004" pitchFamily="50" charset="-127"/>
            </a:endParaRPr>
          </a:p>
        </p:txBody>
      </p:sp>
      <p:sp>
        <p:nvSpPr>
          <p:cNvPr id="29" name="Rectangle 37"/>
          <p:cNvSpPr>
            <a:spLocks noChangeArrowheads="1"/>
          </p:cNvSpPr>
          <p:nvPr/>
        </p:nvSpPr>
        <p:spPr bwMode="auto">
          <a:xfrm>
            <a:off x="2712720" y="1556958"/>
            <a:ext cx="65928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smtClean="0">
                <a:solidFill>
                  <a:schemeClr val="bg1"/>
                </a:solidFill>
                <a:latin typeface="맑은 고딕" panose="020B0503020000020004" pitchFamily="50" charset="-127"/>
              </a:rPr>
              <a:t>대여</a:t>
            </a:r>
            <a:endParaRPr kumimoji="1" lang="ko-KR" altLang="en-US" kern="0" dirty="0">
              <a:solidFill>
                <a:schemeClr val="bg1"/>
              </a:solidFill>
              <a:latin typeface="맑은 고딕" panose="020B0503020000020004" pitchFamily="50" charset="-127"/>
            </a:endParaRPr>
          </a:p>
        </p:txBody>
      </p:sp>
      <p:sp>
        <p:nvSpPr>
          <p:cNvPr id="30" name="Rectangle 37"/>
          <p:cNvSpPr>
            <a:spLocks noChangeArrowheads="1"/>
          </p:cNvSpPr>
          <p:nvPr/>
        </p:nvSpPr>
        <p:spPr bwMode="auto">
          <a:xfrm>
            <a:off x="2026920" y="1556957"/>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smtClean="0">
                <a:solidFill>
                  <a:schemeClr val="bg1"/>
                </a:solidFill>
                <a:latin typeface="맑은 고딕" panose="020B0503020000020004" pitchFamily="50" charset="-127"/>
              </a:rPr>
              <a:t>담보</a:t>
            </a:r>
            <a:endParaRPr kumimoji="1" lang="ko-KR" altLang="en-US" kern="0" dirty="0">
              <a:solidFill>
                <a:schemeClr val="bg1"/>
              </a:solidFill>
              <a:latin typeface="맑은 고딕" panose="020B0503020000020004" pitchFamily="50" charset="-127"/>
            </a:endParaRPr>
          </a:p>
        </p:txBody>
      </p:sp>
      <p:sp>
        <p:nvSpPr>
          <p:cNvPr id="32" name="Rectangle 37"/>
          <p:cNvSpPr>
            <a:spLocks noChangeArrowheads="1"/>
          </p:cNvSpPr>
          <p:nvPr/>
        </p:nvSpPr>
        <p:spPr bwMode="auto">
          <a:xfrm>
            <a:off x="838200" y="605817"/>
            <a:ext cx="376245" cy="284972"/>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endParaRPr kumimoji="1" lang="ko-KR" altLang="en-US" kern="0" dirty="0">
              <a:solidFill>
                <a:schemeClr val="bg1"/>
              </a:solidFill>
              <a:latin typeface="맑은 고딕" panose="020B0503020000020004" pitchFamily="50" charset="-127"/>
            </a:endParaRPr>
          </a:p>
        </p:txBody>
      </p:sp>
      <p:sp>
        <p:nvSpPr>
          <p:cNvPr id="33" name="Rectangle 2"/>
          <p:cNvSpPr txBox="1">
            <a:spLocks noChangeArrowheads="1"/>
          </p:cNvSpPr>
          <p:nvPr/>
        </p:nvSpPr>
        <p:spPr bwMode="auto">
          <a:xfrm>
            <a:off x="297239" y="2377440"/>
            <a:ext cx="9312275" cy="2560320"/>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marL="342900" indent="-342900">
              <a:buAutoNum type="arabicPeriod"/>
              <a:defRPr/>
            </a:pPr>
            <a:r>
              <a:rPr lang="en-US" altLang="ko-KR" sz="1800" b="0" kern="0" dirty="0" err="1" smtClean="0">
                <a:latin typeface="맑은 고딕" panose="020B0503020000020004" pitchFamily="50" charset="-127"/>
              </a:rPr>
              <a:t>SubDAO</a:t>
            </a:r>
            <a:r>
              <a:rPr lang="en-US" altLang="ko-KR" sz="1800" b="0" kern="0" dirty="0" smtClean="0">
                <a:latin typeface="맑은 고딕" panose="020B0503020000020004" pitchFamily="50" charset="-127"/>
              </a:rPr>
              <a:t> : </a:t>
            </a:r>
            <a:r>
              <a:rPr lang="ko-KR" altLang="en-US" sz="1800" b="0" kern="0" dirty="0" smtClean="0">
                <a:latin typeface="맑은 고딕" panose="020B0503020000020004" pitchFamily="50" charset="-127"/>
              </a:rPr>
              <a:t>작은 단위의 커뮤니티 혹은 그룹</a:t>
            </a:r>
            <a:r>
              <a:rPr lang="en-US" altLang="ko-KR" sz="1800" b="0" kern="0" dirty="0" smtClean="0">
                <a:latin typeface="맑은 고딕" panose="020B0503020000020004" pitchFamily="50" charset="-127"/>
              </a:rPr>
              <a:t> (</a:t>
            </a:r>
            <a:r>
              <a:rPr lang="ko-KR" altLang="en-US" sz="1800" b="0" kern="0" dirty="0" err="1" smtClean="0">
                <a:latin typeface="맑은 고딕" panose="020B0503020000020004" pitchFamily="50" charset="-127"/>
              </a:rPr>
              <a:t>일드길드게임즈에서</a:t>
            </a:r>
            <a:r>
              <a:rPr lang="ko-KR" altLang="en-US" sz="1800" b="0" kern="0" dirty="0" smtClean="0">
                <a:latin typeface="맑은 고딕" panose="020B0503020000020004" pitchFamily="50" charset="-127"/>
              </a:rPr>
              <a:t> 따옴</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예를 들어 </a:t>
            </a:r>
            <a:r>
              <a:rPr lang="ko-KR" altLang="en-US" sz="1800" b="0" kern="0" dirty="0" err="1" smtClean="0">
                <a:latin typeface="맑은 고딕" panose="020B0503020000020004" pitchFamily="50" charset="-127"/>
              </a:rPr>
              <a:t>엑시인피니티의</a:t>
            </a:r>
            <a:r>
              <a:rPr lang="ko-KR" altLang="en-US" sz="1800" b="0" kern="0" dirty="0" smtClean="0">
                <a:latin typeface="맑은 고딕" panose="020B0503020000020004" pitchFamily="50" charset="-127"/>
              </a:rPr>
              <a:t> </a:t>
            </a:r>
            <a:r>
              <a:rPr lang="ko-KR" altLang="en-US" sz="1800" b="0" kern="0" dirty="0" err="1" smtClean="0">
                <a:latin typeface="맑은 고딕" panose="020B0503020000020004" pitchFamily="50" charset="-127"/>
              </a:rPr>
              <a:t>몬스터</a:t>
            </a:r>
            <a:r>
              <a:rPr lang="ko-KR" altLang="en-US" sz="1800" b="0" kern="0" dirty="0" smtClean="0">
                <a:latin typeface="맑은 고딕" panose="020B0503020000020004" pitchFamily="50" charset="-127"/>
              </a:rPr>
              <a:t> </a:t>
            </a: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를 주로 구매하는 사용자끼리는 자신들만의 </a:t>
            </a:r>
            <a:r>
              <a:rPr lang="en-US" altLang="ko-KR" sz="1800" b="0" kern="0" dirty="0" err="1" smtClean="0">
                <a:latin typeface="맑은 고딕" panose="020B0503020000020004" pitchFamily="50" charset="-127"/>
              </a:rPr>
              <a:t>SubDAO</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를 만들 수 있겠다</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그리고 사용자는 자신이 원하는 </a:t>
            </a:r>
            <a:r>
              <a:rPr lang="en-US" altLang="ko-KR" sz="1800" b="0" kern="0" dirty="0" err="1" smtClean="0">
                <a:latin typeface="맑은 고딕" panose="020B0503020000020004" pitchFamily="50" charset="-127"/>
              </a:rPr>
              <a:t>SubDAO</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에 여러 개 가입할 수 있다</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이 그룹은 공동의 최대 이익을 달성하기 위해 </a:t>
            </a: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구매</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대여 등을 행동한다</a:t>
            </a:r>
            <a:r>
              <a:rPr lang="en-US" altLang="ko-KR" sz="1800" b="0" kern="0" dirty="0" smtClean="0">
                <a:latin typeface="맑은 고딕" panose="020B0503020000020004" pitchFamily="50" charset="-127"/>
              </a:rPr>
              <a:t>.</a:t>
            </a:r>
          </a:p>
          <a:p>
            <a:pPr marL="342900" indent="-342900">
              <a:buAutoNum type="arabicPeriod"/>
              <a:defRPr/>
            </a:pPr>
            <a:endParaRPr lang="en-US" altLang="ko-KR" sz="1800" b="0" kern="0" dirty="0">
              <a:latin typeface="맑은 고딕" panose="020B0503020000020004" pitchFamily="50" charset="-127"/>
            </a:endParaRPr>
          </a:p>
          <a:p>
            <a:pPr marL="342900" indent="-342900">
              <a:buAutoNum type="arabicPeriod"/>
              <a:defRPr/>
            </a:pPr>
            <a:endParaRPr lang="en-US" altLang="ko-KR" sz="1800" b="0" kern="0" dirty="0" smtClean="0">
              <a:latin typeface="맑은 고딕" panose="020B0503020000020004" pitchFamily="50" charset="-127"/>
            </a:endParaRPr>
          </a:p>
          <a:p>
            <a:pPr marL="342900" indent="-342900">
              <a:buAutoNum type="arabicPeriod"/>
              <a:defRPr/>
            </a:pPr>
            <a:r>
              <a:rPr lang="en-US" altLang="ko-KR" sz="1800" b="0" kern="0" dirty="0" smtClean="0">
                <a:latin typeface="맑은 고딕" panose="020B0503020000020004" pitchFamily="50" charset="-127"/>
              </a:rPr>
              <a:t>DAO : </a:t>
            </a:r>
            <a:r>
              <a:rPr lang="ko-KR" altLang="en-US" sz="1800" b="0" kern="0" dirty="0" smtClean="0">
                <a:latin typeface="맑은 고딕" panose="020B0503020000020004" pitchFamily="50" charset="-127"/>
              </a:rPr>
              <a:t>토큰 생태계를 구축하려면 우리 </a:t>
            </a:r>
            <a:r>
              <a:rPr lang="ko-KR" altLang="en-US" sz="1800" b="0" kern="0" dirty="0" err="1" smtClean="0">
                <a:latin typeface="맑은 고딕" panose="020B0503020000020004" pitchFamily="50" charset="-127"/>
              </a:rPr>
              <a:t>앱을</a:t>
            </a:r>
            <a:r>
              <a:rPr lang="ko-KR" altLang="en-US" sz="1800" b="0" kern="0" dirty="0" smtClean="0">
                <a:latin typeface="맑은 고딕" panose="020B0503020000020004" pitchFamily="50" charset="-127"/>
              </a:rPr>
              <a:t> 운영하는 큰 </a:t>
            </a:r>
            <a:r>
              <a:rPr lang="en-US" altLang="ko-KR" sz="1800" b="0" kern="0" dirty="0" smtClean="0">
                <a:latin typeface="맑은 고딕" panose="020B0503020000020004" pitchFamily="50" charset="-127"/>
              </a:rPr>
              <a:t>DAO </a:t>
            </a:r>
            <a:r>
              <a:rPr lang="ko-KR" altLang="en-US" sz="1800" b="0" kern="0" dirty="0" smtClean="0">
                <a:latin typeface="맑은 고딕" panose="020B0503020000020004" pitchFamily="50" charset="-127"/>
              </a:rPr>
              <a:t>가 필요할 것 같음</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이들의 목적 또한 </a:t>
            </a:r>
            <a:r>
              <a:rPr lang="ko-KR" altLang="en-US" sz="1800" b="0" kern="0" dirty="0" err="1" smtClean="0">
                <a:latin typeface="맑은 고딕" panose="020B0503020000020004" pitchFamily="50" charset="-127"/>
              </a:rPr>
              <a:t>앱의</a:t>
            </a:r>
            <a:r>
              <a:rPr lang="ko-KR" altLang="en-US" sz="1800" b="0" kern="0" dirty="0" smtClean="0">
                <a:latin typeface="맑은 고딕" panose="020B0503020000020004" pitchFamily="50" charset="-127"/>
              </a:rPr>
              <a:t> 모든 사용자가 최대의 이익을 달성할 수 있도록 자금 </a:t>
            </a:r>
            <a:r>
              <a:rPr lang="en-US" altLang="ko-KR" sz="1800" b="0" kern="0" dirty="0" smtClean="0">
                <a:latin typeface="맑은 고딕" panose="020B0503020000020004" pitchFamily="50" charset="-127"/>
              </a:rPr>
              <a:t>pool </a:t>
            </a:r>
            <a:r>
              <a:rPr lang="ko-KR" altLang="en-US" sz="1800" b="0" kern="0" dirty="0" smtClean="0">
                <a:latin typeface="맑은 고딕" panose="020B0503020000020004" pitchFamily="50" charset="-127"/>
              </a:rPr>
              <a:t>을 운용하고 투표에 의한 의사결정을 통해 </a:t>
            </a: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수익을 창출</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참여자들에게 보상한다</a:t>
            </a:r>
            <a:endParaRPr lang="en-US" altLang="ko-KR" sz="1800" b="0" kern="0" dirty="0" smtClean="0">
              <a:latin typeface="맑은 고딕" panose="020B0503020000020004" pitchFamily="50" charset="-127"/>
            </a:endParaRPr>
          </a:p>
        </p:txBody>
      </p:sp>
    </p:spTree>
    <p:extLst>
      <p:ext uri="{BB962C8B-B14F-4D97-AF65-F5344CB8AC3E}">
        <p14:creationId xmlns:p14="http://schemas.microsoft.com/office/powerpoint/2010/main" val="254902116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2.1</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455920" y="157096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461760" y="1575125"/>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153400" y="1575125"/>
            <a:ext cx="131095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지갑</a:t>
            </a:r>
            <a:r>
              <a:rPr kumimoji="0" lang="en-US" altLang="ko-KR" sz="1400" dirty="0" smtClean="0">
                <a:solidFill>
                  <a:schemeClr val="bg1"/>
                </a:solidFill>
              </a:rPr>
              <a:t>(</a:t>
            </a:r>
            <a:r>
              <a:rPr kumimoji="0" lang="ko-KR" altLang="en-US" sz="1400" dirty="0" err="1" smtClean="0">
                <a:solidFill>
                  <a:schemeClr val="bg1"/>
                </a:solidFill>
              </a:rPr>
              <a:t>내정보</a:t>
            </a:r>
            <a:r>
              <a:rPr kumimoji="0" lang="en-US" altLang="ko-KR" sz="1400" dirty="0" smtClean="0">
                <a:solidFill>
                  <a:schemeClr val="bg1"/>
                </a:solidFill>
              </a:rPr>
              <a:t>)</a:t>
            </a:r>
          </a:p>
        </p:txBody>
      </p:sp>
      <p:sp>
        <p:nvSpPr>
          <p:cNvPr id="16" name="Rectangle 37"/>
          <p:cNvSpPr>
            <a:spLocks noChangeArrowheads="1"/>
          </p:cNvSpPr>
          <p:nvPr/>
        </p:nvSpPr>
        <p:spPr bwMode="auto">
          <a:xfrm>
            <a:off x="7467600" y="1566812"/>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sp>
        <p:nvSpPr>
          <p:cNvPr id="26" name="Rectangle 2"/>
          <p:cNvSpPr txBox="1">
            <a:spLocks noChangeArrowheads="1"/>
          </p:cNvSpPr>
          <p:nvPr/>
        </p:nvSpPr>
        <p:spPr bwMode="auto">
          <a:xfrm>
            <a:off x="296863" y="48280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en-US" altLang="ko-KR" sz="1800" b="0" kern="0" dirty="0">
                <a:latin typeface="맑은 고딕" panose="020B0503020000020004" pitchFamily="50" charset="-127"/>
              </a:rPr>
              <a:t>2</a:t>
            </a:r>
            <a:r>
              <a:rPr lang="ko-KR" altLang="en-US" sz="1800" b="0" kern="0" dirty="0">
                <a:latin typeface="맑은 고딕" panose="020B0503020000020004" pitchFamily="50" charset="-127"/>
              </a:rPr>
              <a:t>단계는 아이디어 구체화 및 논의가 </a:t>
            </a:r>
            <a:r>
              <a:rPr lang="ko-KR" altLang="en-US" sz="1800" b="0" kern="0" dirty="0" smtClean="0">
                <a:latin typeface="맑은 고딕" panose="020B0503020000020004" pitchFamily="50" charset="-127"/>
              </a:rPr>
              <a:t>필요 </a:t>
            </a:r>
            <a:r>
              <a:rPr lang="en-US" altLang="ko-KR" sz="1800" b="0" kern="0" dirty="0" smtClean="0">
                <a:latin typeface="맑은 고딕" panose="020B0503020000020004" pitchFamily="50" charset="-127"/>
              </a:rPr>
              <a:t>: </a:t>
            </a:r>
            <a:r>
              <a:rPr lang="en-US" altLang="ko-KR" sz="1800" b="0" kern="0" dirty="0" err="1" smtClean="0">
                <a:latin typeface="맑은 고딕" panose="020B0503020000020004" pitchFamily="50" charset="-127"/>
              </a:rPr>
              <a:t>NftFi</a:t>
            </a:r>
            <a:endParaRPr lang="ko-KR" altLang="en-US" sz="1800" b="0" kern="0" dirty="0">
              <a:latin typeface="맑은 고딕" panose="020B0503020000020004" pitchFamily="50" charset="-127"/>
            </a:endParaRPr>
          </a:p>
        </p:txBody>
      </p:sp>
      <p:sp>
        <p:nvSpPr>
          <p:cNvPr id="27" name="Rectangle 37"/>
          <p:cNvSpPr>
            <a:spLocks noChangeArrowheads="1"/>
          </p:cNvSpPr>
          <p:nvPr/>
        </p:nvSpPr>
        <p:spPr bwMode="auto">
          <a:xfrm>
            <a:off x="4450080" y="1562655"/>
            <a:ext cx="93360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err="1" smtClean="0">
                <a:solidFill>
                  <a:schemeClr val="bg1"/>
                </a:solidFill>
                <a:latin typeface="맑은 고딕" panose="020B0503020000020004" pitchFamily="50" charset="-127"/>
              </a:rPr>
              <a:t>SubDAO</a:t>
            </a:r>
            <a:endParaRPr kumimoji="1" lang="ko-KR" altLang="en-US" kern="0" dirty="0">
              <a:solidFill>
                <a:schemeClr val="bg1"/>
              </a:solidFill>
              <a:latin typeface="맑은 고딕" panose="020B0503020000020004" pitchFamily="50" charset="-127"/>
            </a:endParaRPr>
          </a:p>
        </p:txBody>
      </p:sp>
      <p:sp>
        <p:nvSpPr>
          <p:cNvPr id="28" name="Rectangle 37"/>
          <p:cNvSpPr>
            <a:spLocks noChangeArrowheads="1"/>
          </p:cNvSpPr>
          <p:nvPr/>
        </p:nvSpPr>
        <p:spPr bwMode="auto">
          <a:xfrm>
            <a:off x="3444240" y="1556959"/>
            <a:ext cx="93360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smtClean="0">
                <a:solidFill>
                  <a:schemeClr val="bg1"/>
                </a:solidFill>
                <a:latin typeface="맑은 고딕" panose="020B0503020000020004" pitchFamily="50" charset="-127"/>
              </a:rPr>
              <a:t>스테이</a:t>
            </a:r>
            <a:r>
              <a:rPr kumimoji="1" lang="ko-KR" altLang="en-US" kern="0">
                <a:solidFill>
                  <a:schemeClr val="bg1"/>
                </a:solidFill>
                <a:latin typeface="맑은 고딕" panose="020B0503020000020004" pitchFamily="50" charset="-127"/>
              </a:rPr>
              <a:t>킹</a:t>
            </a:r>
            <a:endParaRPr kumimoji="1" lang="ko-KR" altLang="en-US" kern="0" dirty="0">
              <a:solidFill>
                <a:schemeClr val="bg1"/>
              </a:solidFill>
              <a:latin typeface="맑은 고딕" panose="020B0503020000020004" pitchFamily="50" charset="-127"/>
            </a:endParaRPr>
          </a:p>
        </p:txBody>
      </p:sp>
      <p:sp>
        <p:nvSpPr>
          <p:cNvPr id="29" name="Rectangle 37"/>
          <p:cNvSpPr>
            <a:spLocks noChangeArrowheads="1"/>
          </p:cNvSpPr>
          <p:nvPr/>
        </p:nvSpPr>
        <p:spPr bwMode="auto">
          <a:xfrm>
            <a:off x="2712720" y="1556958"/>
            <a:ext cx="65928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smtClean="0">
                <a:solidFill>
                  <a:schemeClr val="bg1"/>
                </a:solidFill>
                <a:latin typeface="맑은 고딕" panose="020B0503020000020004" pitchFamily="50" charset="-127"/>
              </a:rPr>
              <a:t>대여</a:t>
            </a:r>
            <a:endParaRPr kumimoji="1" lang="ko-KR" altLang="en-US" kern="0" dirty="0">
              <a:solidFill>
                <a:schemeClr val="bg1"/>
              </a:solidFill>
              <a:latin typeface="맑은 고딕" panose="020B0503020000020004" pitchFamily="50" charset="-127"/>
            </a:endParaRPr>
          </a:p>
        </p:txBody>
      </p:sp>
      <p:sp>
        <p:nvSpPr>
          <p:cNvPr id="30" name="Rectangle 37"/>
          <p:cNvSpPr>
            <a:spLocks noChangeArrowheads="1"/>
          </p:cNvSpPr>
          <p:nvPr/>
        </p:nvSpPr>
        <p:spPr bwMode="auto">
          <a:xfrm>
            <a:off x="2026920" y="1556957"/>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ko-KR" altLang="en-US" kern="0" smtClean="0">
                <a:solidFill>
                  <a:schemeClr val="bg1"/>
                </a:solidFill>
                <a:latin typeface="맑은 고딕" panose="020B0503020000020004" pitchFamily="50" charset="-127"/>
              </a:rPr>
              <a:t>담보</a:t>
            </a:r>
            <a:endParaRPr kumimoji="1" lang="ko-KR" altLang="en-US" kern="0" dirty="0">
              <a:solidFill>
                <a:schemeClr val="bg1"/>
              </a:solidFill>
              <a:latin typeface="맑은 고딕" panose="020B0503020000020004" pitchFamily="50" charset="-127"/>
            </a:endParaRPr>
          </a:p>
        </p:txBody>
      </p:sp>
      <p:sp>
        <p:nvSpPr>
          <p:cNvPr id="32" name="Rectangle 37"/>
          <p:cNvSpPr>
            <a:spLocks noChangeArrowheads="1"/>
          </p:cNvSpPr>
          <p:nvPr/>
        </p:nvSpPr>
        <p:spPr bwMode="auto">
          <a:xfrm>
            <a:off x="838200" y="605817"/>
            <a:ext cx="376245" cy="284972"/>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endParaRPr kumimoji="1" lang="ko-KR" altLang="en-US" kern="0" dirty="0">
              <a:solidFill>
                <a:schemeClr val="bg1"/>
              </a:solidFill>
              <a:latin typeface="맑은 고딕" panose="020B0503020000020004" pitchFamily="50" charset="-127"/>
            </a:endParaRPr>
          </a:p>
        </p:txBody>
      </p:sp>
      <p:sp>
        <p:nvSpPr>
          <p:cNvPr id="33" name="Rectangle 2"/>
          <p:cNvSpPr txBox="1">
            <a:spLocks noChangeArrowheads="1"/>
          </p:cNvSpPr>
          <p:nvPr/>
        </p:nvSpPr>
        <p:spPr bwMode="auto">
          <a:xfrm>
            <a:off x="297239" y="2400300"/>
            <a:ext cx="9312275" cy="3063240"/>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marL="342900" indent="-342900">
              <a:buAutoNum type="arabicPeriod"/>
              <a:defRPr/>
            </a:pPr>
            <a:r>
              <a:rPr lang="ko-KR" altLang="en-US" sz="1800" b="0" kern="0" dirty="0" err="1" smtClean="0">
                <a:latin typeface="맑은 고딕" panose="020B0503020000020004" pitchFamily="50" charset="-127"/>
              </a:rPr>
              <a:t>스테이킹</a:t>
            </a:r>
            <a:r>
              <a:rPr lang="ko-KR" altLang="en-US" sz="1800" b="0" kern="0" dirty="0" smtClean="0">
                <a:latin typeface="맑은 고딕" panose="020B0503020000020004" pitchFamily="50" charset="-127"/>
              </a:rPr>
              <a:t> </a:t>
            </a:r>
            <a:r>
              <a:rPr lang="en-US" altLang="ko-KR" sz="1800" b="0" kern="0" dirty="0" smtClean="0">
                <a:latin typeface="맑은 고딕" panose="020B0503020000020004" pitchFamily="50" charset="-127"/>
              </a:rPr>
              <a:t>: DAO </a:t>
            </a:r>
            <a:r>
              <a:rPr lang="ko-KR" altLang="en-US" sz="1800" b="0" kern="0" dirty="0" smtClean="0">
                <a:latin typeface="맑은 고딕" panose="020B0503020000020004" pitchFamily="50" charset="-127"/>
              </a:rPr>
              <a:t>가 존재한다면 토큰 </a:t>
            </a:r>
            <a:r>
              <a:rPr lang="ko-KR" altLang="en-US" sz="1800" b="0" kern="0" dirty="0" err="1" smtClean="0">
                <a:latin typeface="맑은 고딕" panose="020B0503020000020004" pitchFamily="50" charset="-127"/>
              </a:rPr>
              <a:t>스테이킹</a:t>
            </a:r>
            <a:r>
              <a:rPr lang="ko-KR" altLang="en-US" sz="1800" b="0" kern="0" dirty="0" smtClean="0">
                <a:latin typeface="맑은 고딕" panose="020B0503020000020004" pitchFamily="50" charset="-127"/>
              </a:rPr>
              <a:t> 또한 가능할 것</a:t>
            </a:r>
            <a:endParaRPr lang="en-US" altLang="ko-KR" sz="1800" b="0" kern="0" dirty="0" smtClean="0">
              <a:latin typeface="맑은 고딕" panose="020B0503020000020004" pitchFamily="50" charset="-127"/>
            </a:endParaRPr>
          </a:p>
          <a:p>
            <a:pPr marL="342900" indent="-342900">
              <a:buAutoNum type="arabicPeriod"/>
              <a:defRPr/>
            </a:pPr>
            <a:endParaRPr lang="en-US" altLang="ko-KR" sz="1800" b="0" kern="0" dirty="0">
              <a:latin typeface="맑은 고딕" panose="020B0503020000020004" pitchFamily="50" charset="-127"/>
            </a:endParaRPr>
          </a:p>
          <a:p>
            <a:pPr marL="342900" indent="-342900">
              <a:buAutoNum type="arabicPeriod"/>
              <a:defRPr/>
            </a:pPr>
            <a:endParaRPr lang="en-US" altLang="ko-KR" sz="1800" b="0" kern="0" dirty="0" smtClean="0">
              <a:latin typeface="맑은 고딕" panose="020B0503020000020004" pitchFamily="50" charset="-127"/>
            </a:endParaRPr>
          </a:p>
          <a:p>
            <a:pPr marL="342900" indent="-342900">
              <a:buAutoNum type="arabicPeriod"/>
              <a:defRPr/>
            </a:pPr>
            <a:r>
              <a:rPr lang="ko-KR" altLang="en-US" sz="1800" b="0" kern="0" dirty="0" smtClean="0">
                <a:latin typeface="맑은 고딕" panose="020B0503020000020004" pitchFamily="50" charset="-127"/>
              </a:rPr>
              <a:t>대여 </a:t>
            </a:r>
            <a:r>
              <a:rPr lang="en-US" altLang="ko-KR" sz="1800" b="0" kern="0" dirty="0" smtClean="0">
                <a:latin typeface="맑은 고딕" panose="020B0503020000020004" pitchFamily="50" charset="-127"/>
              </a:rPr>
              <a:t>: NFT </a:t>
            </a:r>
            <a:r>
              <a:rPr lang="ko-KR" altLang="en-US" sz="1800" b="0" kern="0" dirty="0" smtClean="0">
                <a:latin typeface="맑은 고딕" panose="020B0503020000020004" pitchFamily="50" charset="-127"/>
              </a:rPr>
              <a:t>를 다른 사용자에게 대여해주는 기능</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예를 들어 </a:t>
            </a:r>
            <a:r>
              <a:rPr lang="ko-KR" altLang="en-US" sz="1800" b="0" kern="0" dirty="0" err="1" smtClean="0">
                <a:latin typeface="맑은 고딕" panose="020B0503020000020004" pitchFamily="50" charset="-127"/>
              </a:rPr>
              <a:t>샌드박스</a:t>
            </a:r>
            <a:r>
              <a:rPr lang="ko-KR" altLang="en-US" sz="1800" b="0" kern="0" dirty="0" smtClean="0">
                <a:latin typeface="맑은 고딕" panose="020B0503020000020004" pitchFamily="50" charset="-127"/>
              </a:rPr>
              <a:t> 메타버스는 </a:t>
            </a:r>
            <a:r>
              <a:rPr lang="en-US" altLang="ko-KR" sz="1800" b="0" kern="0" dirty="0" smtClean="0">
                <a:latin typeface="맑은 고딕" panose="020B0503020000020004" pitchFamily="50" charset="-127"/>
              </a:rPr>
              <a:t>LAND </a:t>
            </a:r>
            <a:r>
              <a:rPr lang="ko-KR" altLang="en-US" sz="1800" b="0" kern="0" dirty="0" smtClean="0">
                <a:latin typeface="맑은 고딕" panose="020B0503020000020004" pitchFamily="50" charset="-127"/>
              </a:rPr>
              <a:t>를 소유하고 있어야 게임메이커로서 가상세계를 구축할 수 있다</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그런데 유저 중에는 </a:t>
            </a:r>
            <a:r>
              <a:rPr lang="en-US" altLang="ko-KR" sz="1800" b="0" kern="0" dirty="0" smtClean="0">
                <a:latin typeface="맑은 고딕" panose="020B0503020000020004" pitchFamily="50" charset="-127"/>
              </a:rPr>
              <a:t>LAND </a:t>
            </a:r>
            <a:r>
              <a:rPr lang="ko-KR" altLang="en-US" sz="1800" b="0" kern="0" dirty="0" smtClean="0">
                <a:latin typeface="맑은 고딕" panose="020B0503020000020004" pitchFamily="50" charset="-127"/>
              </a:rPr>
              <a:t>를 구매하지 않고 한달 정도 맛만 보고 싶은 사람이 있을 것이다</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이처럼 현실 세계의 </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임대</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대여</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서비스를 메타버스 </a:t>
            </a: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시장에도 도입하자는 생각</a:t>
            </a:r>
            <a:endParaRPr lang="en-US" altLang="ko-KR" sz="1800" b="0" kern="0" dirty="0" smtClean="0">
              <a:latin typeface="맑은 고딕" panose="020B0503020000020004" pitchFamily="50" charset="-127"/>
            </a:endParaRPr>
          </a:p>
          <a:p>
            <a:pPr marL="342900" indent="-342900">
              <a:buAutoNum type="arabicPeriod"/>
              <a:defRPr/>
            </a:pPr>
            <a:endParaRPr lang="en-US" altLang="ko-KR" sz="1800" b="0" kern="0" dirty="0">
              <a:latin typeface="맑은 고딕" panose="020B0503020000020004" pitchFamily="50" charset="-127"/>
            </a:endParaRPr>
          </a:p>
          <a:p>
            <a:pPr marL="342900" indent="-342900">
              <a:buAutoNum type="arabicPeriod"/>
              <a:defRPr/>
            </a:pPr>
            <a:endParaRPr lang="en-US" altLang="ko-KR" sz="1800" b="0" kern="0" dirty="0" smtClean="0">
              <a:latin typeface="맑은 고딕" panose="020B0503020000020004" pitchFamily="50" charset="-127"/>
            </a:endParaRPr>
          </a:p>
          <a:p>
            <a:pPr marL="342900" indent="-342900">
              <a:buAutoNum type="arabicPeriod"/>
              <a:defRPr/>
            </a:pPr>
            <a:r>
              <a:rPr lang="ko-KR" altLang="en-US" sz="1800" b="0" kern="0" dirty="0" smtClean="0">
                <a:latin typeface="맑은 고딕" panose="020B0503020000020004" pitchFamily="50" charset="-127"/>
              </a:rPr>
              <a:t>담보 </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보유한 메타버스 </a:t>
            </a: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를 담보로 코인</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토큰</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을 대출하거나</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보유한 코인을 담보로 메타버스 </a:t>
            </a: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를 구매한 후 향후에 갚는 기능</a:t>
            </a:r>
            <a:endParaRPr lang="en-US" altLang="ko-KR" sz="1800" b="0" kern="0" dirty="0" smtClean="0">
              <a:latin typeface="맑은 고딕" panose="020B0503020000020004" pitchFamily="50" charset="-127"/>
            </a:endParaRPr>
          </a:p>
        </p:txBody>
      </p:sp>
    </p:spTree>
    <p:extLst>
      <p:ext uri="{BB962C8B-B14F-4D97-AF65-F5344CB8AC3E}">
        <p14:creationId xmlns:p14="http://schemas.microsoft.com/office/powerpoint/2010/main" val="58479957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3"/>
          <p:cNvSpPr>
            <a:spLocks noChangeArrowheads="1"/>
          </p:cNvSpPr>
          <p:nvPr/>
        </p:nvSpPr>
        <p:spPr bwMode="auto">
          <a:xfrm>
            <a:off x="296863" y="157163"/>
            <a:ext cx="21387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p>
            <a:pPr latinLnBrk="1"/>
            <a:r>
              <a:rPr lang="en-US" altLang="ko-KR" dirty="0">
                <a:solidFill>
                  <a:schemeClr val="tx2"/>
                </a:solidFill>
                <a:latin typeface="맑은 고딕" pitchFamily="50" charset="-127"/>
              </a:rPr>
              <a:t>2</a:t>
            </a:r>
            <a:r>
              <a:rPr lang="en-US" altLang="ko-KR" dirty="0" smtClean="0">
                <a:solidFill>
                  <a:schemeClr val="tx2"/>
                </a:solidFill>
                <a:latin typeface="맑은 고딕" pitchFamily="50" charset="-127"/>
              </a:rPr>
              <a:t>. </a:t>
            </a:r>
            <a:r>
              <a:rPr lang="ko-KR" altLang="en-US" dirty="0" smtClean="0">
                <a:solidFill>
                  <a:schemeClr val="tx2"/>
                </a:solidFill>
                <a:latin typeface="맑은 고딕" pitchFamily="50" charset="-127"/>
              </a:rPr>
              <a:t>서비스 </a:t>
            </a:r>
            <a:r>
              <a:rPr lang="ko-KR" altLang="en-US" dirty="0" err="1" smtClean="0">
                <a:solidFill>
                  <a:schemeClr val="tx2"/>
                </a:solidFill>
                <a:latin typeface="맑은 고딕" pitchFamily="50" charset="-127"/>
              </a:rPr>
              <a:t>콤포넌</a:t>
            </a:r>
            <a:r>
              <a:rPr lang="ko-KR" altLang="en-US" dirty="0" err="1">
                <a:solidFill>
                  <a:schemeClr val="tx2"/>
                </a:solidFill>
                <a:latin typeface="맑은 고딕" pitchFamily="50" charset="-127"/>
              </a:rPr>
              <a:t>트</a:t>
            </a:r>
            <a:r>
              <a:rPr lang="ko-KR" altLang="en-US" dirty="0" smtClean="0">
                <a:solidFill>
                  <a:schemeClr val="tx2"/>
                </a:solidFill>
                <a:latin typeface="맑은 고딕" pitchFamily="50" charset="-127"/>
              </a:rPr>
              <a:t> 예시</a:t>
            </a:r>
            <a:endParaRPr lang="en-US" altLang="ko-KR" dirty="0">
              <a:solidFill>
                <a:schemeClr val="tx2"/>
              </a:solidFill>
              <a:latin typeface="맑은 고딕" pitchFamily="50" charset="-127"/>
            </a:endParaRPr>
          </a:p>
        </p:txBody>
      </p:sp>
      <p:sp>
        <p:nvSpPr>
          <p:cNvPr id="349" name="Rectangle 2"/>
          <p:cNvSpPr txBox="1">
            <a:spLocks noChangeArrowheads="1"/>
          </p:cNvSpPr>
          <p:nvPr/>
        </p:nvSpPr>
        <p:spPr bwMode="auto">
          <a:xfrm>
            <a:off x="296863" y="457200"/>
            <a:ext cx="92741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err="1" smtClean="0">
                <a:latin typeface="맑은 고딕" panose="020B0503020000020004" pitchFamily="50" charset="-127"/>
              </a:rPr>
              <a:t>예시임니다</a:t>
            </a:r>
            <a:r>
              <a:rPr lang="en-US" altLang="ko-KR" sz="1800" b="0" kern="0" dirty="0" smtClean="0">
                <a:latin typeface="맑은 고딕" panose="020B0503020000020004" pitchFamily="50" charset="-127"/>
              </a:rPr>
              <a:t>..</a:t>
            </a:r>
            <a:endParaRPr lang="ko-KR" altLang="en-US" sz="1800" b="0" kern="0" dirty="0">
              <a:latin typeface="맑은 고딕" panose="020B0503020000020004" pitchFamily="50" charset="-127"/>
            </a:endParaRPr>
          </a:p>
        </p:txBody>
      </p:sp>
      <p:cxnSp>
        <p:nvCxnSpPr>
          <p:cNvPr id="389" name="AutoShape 30"/>
          <p:cNvCxnSpPr>
            <a:cxnSpLocks noChangeShapeType="1"/>
          </p:cNvCxnSpPr>
          <p:nvPr/>
        </p:nvCxnSpPr>
        <p:spPr bwMode="gray">
          <a:xfrm flipV="1">
            <a:off x="2860499" y="732631"/>
            <a:ext cx="0" cy="360363"/>
          </a:xfrm>
          <a:prstGeom prst="straightConnector1">
            <a:avLst/>
          </a:prstGeom>
          <a:noFill/>
          <a:ln w="9525">
            <a:solidFill>
              <a:schemeClr val="bg1">
                <a:lumMod val="50000"/>
              </a:schemeClr>
            </a:solidFill>
            <a:round/>
            <a:headEnd/>
            <a:tailEnd type="triangle" w="med" len="med"/>
          </a:ln>
          <a:effectLst/>
        </p:spPr>
      </p:cxnSp>
      <p:sp>
        <p:nvSpPr>
          <p:cNvPr id="19472" name="Text Box 8"/>
          <p:cNvSpPr txBox="1">
            <a:spLocks noChangeArrowheads="1"/>
          </p:cNvSpPr>
          <p:nvPr/>
        </p:nvSpPr>
        <p:spPr bwMode="gray">
          <a:xfrm>
            <a:off x="330024" y="5911815"/>
            <a:ext cx="2530475" cy="39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488" tIns="44450" rIns="90488" bIns="44450">
            <a:spAutoFit/>
          </a:bodyPr>
          <a:lstStyle>
            <a:lvl1pPr marL="85725" indent="-85725">
              <a:defRPr sz="1400" b="1">
                <a:solidFill>
                  <a:srgbClr val="000000"/>
                </a:solidFill>
                <a:latin typeface="Arial" pitchFamily="34" charset="0"/>
                <a:ea typeface="맑은 고딕" pitchFamily="50" charset="-127"/>
              </a:defRPr>
            </a:lvl1pPr>
            <a:lvl2pPr marL="742950" indent="-285750">
              <a:defRPr sz="1400" b="1">
                <a:solidFill>
                  <a:srgbClr val="000000"/>
                </a:solidFill>
                <a:latin typeface="Arial" pitchFamily="34" charset="0"/>
                <a:ea typeface="맑은 고딕" pitchFamily="50" charset="-127"/>
              </a:defRPr>
            </a:lvl2pPr>
            <a:lvl3pPr marL="1143000" indent="-228600">
              <a:defRPr sz="1400" b="1">
                <a:solidFill>
                  <a:srgbClr val="000000"/>
                </a:solidFill>
                <a:latin typeface="Arial" pitchFamily="34" charset="0"/>
                <a:ea typeface="맑은 고딕" pitchFamily="50" charset="-127"/>
              </a:defRPr>
            </a:lvl3pPr>
            <a:lvl4pPr marL="1600200" indent="-228600">
              <a:defRPr sz="1400" b="1">
                <a:solidFill>
                  <a:srgbClr val="000000"/>
                </a:solidFill>
                <a:latin typeface="Arial" pitchFamily="34" charset="0"/>
                <a:ea typeface="맑은 고딕" pitchFamily="50" charset="-127"/>
              </a:defRPr>
            </a:lvl4pPr>
            <a:lvl5pPr marL="2057400" indent="-228600">
              <a:defRPr sz="1400" b="1">
                <a:solidFill>
                  <a:srgbClr val="000000"/>
                </a:solidFill>
                <a:latin typeface="Arial" pitchFamily="34" charset="0"/>
                <a:ea typeface="맑은 고딕" pitchFamily="50" charset="-127"/>
              </a:defRPr>
            </a:lvl5pPr>
            <a:lvl6pPr marL="2514600" indent="-228600"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pPr>
              <a:spcBef>
                <a:spcPct val="50000"/>
              </a:spcBef>
            </a:pPr>
            <a:r>
              <a:rPr lang="en-US" altLang="ko-KR" sz="2000" dirty="0" smtClean="0">
                <a:solidFill>
                  <a:srgbClr val="000066"/>
                </a:solidFill>
                <a:latin typeface="맑은 고딕" pitchFamily="50" charset="-127"/>
              </a:rPr>
              <a:t>[2 </a:t>
            </a:r>
            <a:r>
              <a:rPr lang="ko-KR" altLang="en-US" sz="2000" dirty="0" smtClean="0">
                <a:solidFill>
                  <a:srgbClr val="000066"/>
                </a:solidFill>
                <a:latin typeface="맑은 고딕" pitchFamily="50" charset="-127"/>
              </a:rPr>
              <a:t>단계</a:t>
            </a:r>
            <a:r>
              <a:rPr lang="en-US" altLang="ko-KR" sz="2000" dirty="0" smtClean="0">
                <a:solidFill>
                  <a:srgbClr val="000066"/>
                </a:solidFill>
                <a:latin typeface="맑은 고딕" pitchFamily="50" charset="-127"/>
              </a:rPr>
              <a:t>]</a:t>
            </a:r>
            <a:endParaRPr lang="en-US" altLang="ko-KR" sz="2000" dirty="0">
              <a:solidFill>
                <a:srgbClr val="000066"/>
              </a:solidFill>
              <a:latin typeface="맑은 고딕" pitchFamily="50" charset="-127"/>
            </a:endParaRPr>
          </a:p>
        </p:txBody>
      </p:sp>
      <p:cxnSp>
        <p:nvCxnSpPr>
          <p:cNvPr id="428" name="AutoShape 17"/>
          <p:cNvCxnSpPr>
            <a:cxnSpLocks noChangeShapeType="1"/>
          </p:cNvCxnSpPr>
          <p:nvPr/>
        </p:nvCxnSpPr>
        <p:spPr bwMode="gray">
          <a:xfrm rot="5400000" flipH="1" flipV="1">
            <a:off x="4163883" y="80168"/>
            <a:ext cx="354012" cy="1216025"/>
          </a:xfrm>
          <a:prstGeom prst="bentConnector2">
            <a:avLst/>
          </a:prstGeom>
          <a:noFill/>
          <a:ln w="9525">
            <a:solidFill>
              <a:schemeClr val="bg1">
                <a:lumMod val="50000"/>
              </a:schemeClr>
            </a:solidFill>
            <a:miter lim="800000"/>
            <a:headEnd/>
            <a:tailEnd type="triangle" w="med" len="med"/>
          </a:ln>
          <a:effectLst/>
        </p:spPr>
      </p:cxnSp>
      <p:cxnSp>
        <p:nvCxnSpPr>
          <p:cNvPr id="19478" name="AutoShape 18"/>
          <p:cNvCxnSpPr>
            <a:cxnSpLocks noChangeShapeType="1"/>
          </p:cNvCxnSpPr>
          <p:nvPr/>
        </p:nvCxnSpPr>
        <p:spPr bwMode="gray">
          <a:xfrm>
            <a:off x="5681663" y="3438525"/>
            <a:ext cx="328612" cy="0"/>
          </a:xfrm>
          <a:prstGeom prst="straightConnector1">
            <a:avLst/>
          </a:prstGeom>
          <a:noFill/>
          <a:ln w="9525">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442" name="AutoShape 31"/>
          <p:cNvCxnSpPr>
            <a:cxnSpLocks noChangeShapeType="1"/>
          </p:cNvCxnSpPr>
          <p:nvPr/>
        </p:nvCxnSpPr>
        <p:spPr bwMode="gray">
          <a:xfrm>
            <a:off x="3232150" y="912812"/>
            <a:ext cx="390525" cy="4762"/>
          </a:xfrm>
          <a:prstGeom prst="bentConnector3">
            <a:avLst>
              <a:gd name="adj1" fmla="val 50000"/>
            </a:avLst>
          </a:prstGeom>
          <a:noFill/>
          <a:ln w="9525">
            <a:solidFill>
              <a:schemeClr val="bg1">
                <a:lumMod val="50000"/>
              </a:schemeClr>
            </a:solidFill>
            <a:miter lim="800000"/>
            <a:headEnd/>
            <a:tailEnd type="triangle" w="med" len="med"/>
          </a:ln>
          <a:effectLst/>
        </p:spPr>
      </p:cxnSp>
      <p:sp>
        <p:nvSpPr>
          <p:cNvPr id="36" name="Rectangle 12"/>
          <p:cNvSpPr>
            <a:spLocks noChangeArrowheads="1"/>
          </p:cNvSpPr>
          <p:nvPr/>
        </p:nvSpPr>
        <p:spPr bwMode="auto">
          <a:xfrm>
            <a:off x="426084" y="1499393"/>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en-US" altLang="ko-KR" sz="1200" dirty="0" err="1" smtClean="0">
                <a:latin typeface="맑은 고딕" pitchFamily="50" charset="-127"/>
              </a:rPr>
              <a:t>SubDAO</a:t>
            </a:r>
            <a:endParaRPr lang="en-US" altLang="ko-KR" sz="1200" dirty="0" smtClean="0">
              <a:latin typeface="맑은 고딕" pitchFamily="50" charset="-127"/>
            </a:endParaRPr>
          </a:p>
          <a:p>
            <a:pPr algn="ctr">
              <a:lnSpc>
                <a:spcPct val="110000"/>
              </a:lnSpc>
            </a:pPr>
            <a:r>
              <a:rPr lang="en-US" altLang="ko-KR" sz="1200" dirty="0" smtClean="0">
                <a:latin typeface="맑은 고딕" pitchFamily="50" charset="-127"/>
              </a:rPr>
              <a:t>(</a:t>
            </a:r>
            <a:r>
              <a:rPr lang="ko-KR" altLang="en-US" sz="1200" dirty="0" smtClean="0">
                <a:latin typeface="맑은 고딕" pitchFamily="50" charset="-127"/>
              </a:rPr>
              <a:t>목록 페이지</a:t>
            </a:r>
            <a:r>
              <a:rPr lang="en-US" altLang="ko-KR" sz="1200" dirty="0" smtClean="0">
                <a:latin typeface="맑은 고딕" pitchFamily="50" charset="-127"/>
              </a:rPr>
              <a:t>)</a:t>
            </a:r>
            <a:endParaRPr lang="ko-KR" altLang="en-US" sz="1200" dirty="0">
              <a:latin typeface="맑은 고딕" pitchFamily="50" charset="-127"/>
            </a:endParaRPr>
          </a:p>
        </p:txBody>
      </p:sp>
      <p:sp>
        <p:nvSpPr>
          <p:cNvPr id="38" name="Rectangle 12"/>
          <p:cNvSpPr>
            <a:spLocks noChangeArrowheads="1"/>
          </p:cNvSpPr>
          <p:nvPr/>
        </p:nvSpPr>
        <p:spPr bwMode="auto">
          <a:xfrm>
            <a:off x="426081" y="2858395"/>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en-US" altLang="ko-KR" sz="1200" dirty="0" err="1" smtClean="0">
                <a:latin typeface="맑은 고딕" pitchFamily="50" charset="-127"/>
              </a:rPr>
              <a:t>SubDAO</a:t>
            </a:r>
            <a:endParaRPr lang="en-US" altLang="ko-KR" sz="1200" dirty="0" smtClean="0">
              <a:latin typeface="맑은 고딕" pitchFamily="50" charset="-127"/>
            </a:endParaRPr>
          </a:p>
          <a:p>
            <a:pPr algn="ctr">
              <a:lnSpc>
                <a:spcPct val="110000"/>
              </a:lnSpc>
            </a:pPr>
            <a:r>
              <a:rPr lang="ko-KR" altLang="en-US" sz="1200" dirty="0" smtClean="0">
                <a:latin typeface="맑은 고딕" pitchFamily="50" charset="-127"/>
              </a:rPr>
              <a:t>생성</a:t>
            </a:r>
            <a:endParaRPr lang="ko-KR" altLang="en-US" sz="1200" dirty="0">
              <a:latin typeface="맑은 고딕" pitchFamily="50" charset="-127"/>
            </a:endParaRPr>
          </a:p>
        </p:txBody>
      </p:sp>
      <p:sp>
        <p:nvSpPr>
          <p:cNvPr id="39" name="Rectangle 12"/>
          <p:cNvSpPr>
            <a:spLocks noChangeArrowheads="1"/>
          </p:cNvSpPr>
          <p:nvPr/>
        </p:nvSpPr>
        <p:spPr bwMode="auto">
          <a:xfrm>
            <a:off x="426084" y="3477160"/>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en-US" altLang="ko-KR" sz="1200" dirty="0" err="1" smtClean="0">
                <a:latin typeface="맑은 고딕" pitchFamily="50" charset="-127"/>
              </a:rPr>
              <a:t>SubDAO</a:t>
            </a:r>
            <a:endParaRPr lang="en-US" altLang="ko-KR" sz="1200" dirty="0" smtClean="0">
              <a:latin typeface="맑은 고딕" pitchFamily="50" charset="-127"/>
            </a:endParaRPr>
          </a:p>
          <a:p>
            <a:pPr algn="ctr">
              <a:lnSpc>
                <a:spcPct val="110000"/>
              </a:lnSpc>
            </a:pPr>
            <a:r>
              <a:rPr lang="ko-KR" altLang="en-US" sz="1200" dirty="0" smtClean="0">
                <a:latin typeface="맑은 고딕" pitchFamily="50" charset="-127"/>
              </a:rPr>
              <a:t>가입 요청</a:t>
            </a:r>
            <a:endParaRPr lang="ko-KR" altLang="en-US" sz="1200" dirty="0">
              <a:latin typeface="맑은 고딕" pitchFamily="50" charset="-127"/>
            </a:endParaRPr>
          </a:p>
        </p:txBody>
      </p:sp>
      <p:cxnSp>
        <p:nvCxnSpPr>
          <p:cNvPr id="43" name="AutoShape 30"/>
          <p:cNvCxnSpPr>
            <a:cxnSpLocks noChangeShapeType="1"/>
          </p:cNvCxnSpPr>
          <p:nvPr/>
        </p:nvCxnSpPr>
        <p:spPr bwMode="gray">
          <a:xfrm flipH="1">
            <a:off x="2294755" y="998617"/>
            <a:ext cx="2" cy="188754"/>
          </a:xfrm>
          <a:prstGeom prst="straightConnector1">
            <a:avLst/>
          </a:prstGeom>
          <a:noFill/>
          <a:ln w="9525">
            <a:solidFill>
              <a:schemeClr val="bg1">
                <a:lumMod val="50000"/>
              </a:schemeClr>
            </a:solidFill>
            <a:round/>
            <a:headEnd/>
            <a:tailEnd type="triangle" w="med" len="med"/>
          </a:ln>
          <a:effectLst/>
        </p:spPr>
      </p:cxnSp>
      <p:sp>
        <p:nvSpPr>
          <p:cNvPr id="54" name="Rectangle 12"/>
          <p:cNvSpPr>
            <a:spLocks noChangeArrowheads="1"/>
          </p:cNvSpPr>
          <p:nvPr/>
        </p:nvSpPr>
        <p:spPr bwMode="auto">
          <a:xfrm>
            <a:off x="420542" y="2171065"/>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en-US" altLang="ko-KR" sz="1200" dirty="0" err="1" smtClean="0">
                <a:latin typeface="맑은 고딕" pitchFamily="50" charset="-127"/>
              </a:rPr>
              <a:t>SubDAO</a:t>
            </a:r>
            <a:endParaRPr lang="en-US" altLang="ko-KR" sz="1200" dirty="0" smtClean="0">
              <a:latin typeface="맑은 고딕" pitchFamily="50" charset="-127"/>
            </a:endParaRPr>
          </a:p>
          <a:p>
            <a:pPr algn="ctr">
              <a:lnSpc>
                <a:spcPct val="110000"/>
              </a:lnSpc>
            </a:pPr>
            <a:r>
              <a:rPr lang="ko-KR" altLang="en-US" sz="1200" dirty="0" smtClean="0">
                <a:latin typeface="맑은 고딕" pitchFamily="50" charset="-127"/>
              </a:rPr>
              <a:t>상</a:t>
            </a:r>
            <a:r>
              <a:rPr lang="ko-KR" altLang="en-US" sz="1200" dirty="0">
                <a:latin typeface="맑은 고딕" pitchFamily="50" charset="-127"/>
              </a:rPr>
              <a:t>세</a:t>
            </a:r>
          </a:p>
        </p:txBody>
      </p:sp>
      <p:sp>
        <p:nvSpPr>
          <p:cNvPr id="55" name="Rectangle 12"/>
          <p:cNvSpPr>
            <a:spLocks noChangeArrowheads="1"/>
          </p:cNvSpPr>
          <p:nvPr/>
        </p:nvSpPr>
        <p:spPr bwMode="auto">
          <a:xfrm>
            <a:off x="1729421" y="1492523"/>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en-US" altLang="ko-KR" sz="1200" dirty="0" smtClean="0">
                <a:latin typeface="맑은 고딕" pitchFamily="50" charset="-127"/>
              </a:rPr>
              <a:t>DAO …</a:t>
            </a:r>
            <a:endParaRPr lang="ko-KR" altLang="en-US" sz="1200" dirty="0">
              <a:latin typeface="맑은 고딕" pitchFamily="50" charset="-127"/>
            </a:endParaRPr>
          </a:p>
        </p:txBody>
      </p:sp>
      <p:sp>
        <p:nvSpPr>
          <p:cNvPr id="56" name="Rectangle 12"/>
          <p:cNvSpPr>
            <a:spLocks noChangeArrowheads="1"/>
          </p:cNvSpPr>
          <p:nvPr/>
        </p:nvSpPr>
        <p:spPr bwMode="auto">
          <a:xfrm>
            <a:off x="6237720" y="688180"/>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페이지 </a:t>
            </a:r>
            <a:r>
              <a:rPr lang="en-US" altLang="ko-KR" sz="1200" dirty="0" smtClean="0">
                <a:latin typeface="맑은 고딕" pitchFamily="50" charset="-127"/>
              </a:rPr>
              <a:t>View</a:t>
            </a:r>
            <a:endParaRPr lang="ko-KR" altLang="en-US" sz="1200" dirty="0">
              <a:latin typeface="맑은 고딕" pitchFamily="50" charset="-127"/>
            </a:endParaRPr>
          </a:p>
        </p:txBody>
      </p:sp>
      <p:sp>
        <p:nvSpPr>
          <p:cNvPr id="57" name="Rectangle 12"/>
          <p:cNvSpPr>
            <a:spLocks noChangeArrowheads="1"/>
          </p:cNvSpPr>
          <p:nvPr/>
        </p:nvSpPr>
        <p:spPr bwMode="auto">
          <a:xfrm>
            <a:off x="7559039" y="680958"/>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기</a:t>
            </a:r>
            <a:r>
              <a:rPr lang="ko-KR" altLang="en-US" sz="1200" dirty="0">
                <a:latin typeface="맑은 고딕" pitchFamily="50" charset="-127"/>
              </a:rPr>
              <a:t>능</a:t>
            </a:r>
          </a:p>
        </p:txBody>
      </p:sp>
      <p:sp>
        <p:nvSpPr>
          <p:cNvPr id="59" name="Rectangle 12"/>
          <p:cNvSpPr>
            <a:spLocks noChangeArrowheads="1"/>
          </p:cNvSpPr>
          <p:nvPr/>
        </p:nvSpPr>
        <p:spPr bwMode="auto">
          <a:xfrm>
            <a:off x="2997200" y="1492523"/>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ko-KR" altLang="en-US" sz="1200" dirty="0" err="1" smtClean="0">
                <a:latin typeface="맑은 고딕" pitchFamily="50" charset="-127"/>
              </a:rPr>
              <a:t>스테이킹</a:t>
            </a:r>
            <a:endParaRPr lang="en-US" altLang="ko-KR" sz="1200" dirty="0" smtClean="0">
              <a:latin typeface="맑은 고딕" pitchFamily="50" charset="-127"/>
            </a:endParaRPr>
          </a:p>
        </p:txBody>
      </p:sp>
      <p:sp>
        <p:nvSpPr>
          <p:cNvPr id="62" name="Rectangle 12"/>
          <p:cNvSpPr>
            <a:spLocks noChangeArrowheads="1"/>
          </p:cNvSpPr>
          <p:nvPr/>
        </p:nvSpPr>
        <p:spPr bwMode="auto">
          <a:xfrm>
            <a:off x="4262438" y="1494544"/>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대여 </a:t>
            </a:r>
            <a:r>
              <a:rPr lang="en-US" altLang="ko-KR" sz="1200" dirty="0" smtClean="0">
                <a:latin typeface="맑은 고딕" pitchFamily="50" charset="-127"/>
              </a:rPr>
              <a:t>/ </a:t>
            </a:r>
            <a:r>
              <a:rPr lang="ko-KR" altLang="en-US" sz="1200" dirty="0" smtClean="0">
                <a:latin typeface="맑은 고딕" pitchFamily="50" charset="-127"/>
              </a:rPr>
              <a:t>임대</a:t>
            </a:r>
            <a:endParaRPr lang="en-US" altLang="ko-KR" sz="1200" dirty="0" smtClean="0">
              <a:latin typeface="맑은 고딕" pitchFamily="50" charset="-127"/>
            </a:endParaRPr>
          </a:p>
          <a:p>
            <a:pPr algn="ctr">
              <a:lnSpc>
                <a:spcPct val="110000"/>
              </a:lnSpc>
            </a:pPr>
            <a:r>
              <a:rPr lang="ko-KR" altLang="en-US" sz="1200" dirty="0" smtClean="0">
                <a:latin typeface="맑은 고딕" pitchFamily="50" charset="-127"/>
              </a:rPr>
              <a:t>게시</a:t>
            </a:r>
            <a:r>
              <a:rPr lang="ko-KR" altLang="en-US" sz="1200" dirty="0">
                <a:latin typeface="맑은 고딕" pitchFamily="50" charset="-127"/>
              </a:rPr>
              <a:t>판</a:t>
            </a:r>
            <a:r>
              <a:rPr lang="ko-KR" altLang="en-US" sz="1200" dirty="0" smtClean="0">
                <a:latin typeface="맑은 고딕" pitchFamily="50" charset="-127"/>
              </a:rPr>
              <a:t> </a:t>
            </a:r>
            <a:endParaRPr lang="ko-KR" altLang="en-US" sz="1200" dirty="0">
              <a:latin typeface="맑은 고딕" pitchFamily="50" charset="-127"/>
            </a:endParaRPr>
          </a:p>
        </p:txBody>
      </p:sp>
      <p:sp>
        <p:nvSpPr>
          <p:cNvPr id="65" name="Rectangle 12"/>
          <p:cNvSpPr>
            <a:spLocks noChangeArrowheads="1"/>
          </p:cNvSpPr>
          <p:nvPr/>
        </p:nvSpPr>
        <p:spPr bwMode="auto">
          <a:xfrm>
            <a:off x="4244426" y="2171064"/>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대여 </a:t>
            </a:r>
            <a:r>
              <a:rPr lang="en-US" altLang="ko-KR" sz="1200" dirty="0" smtClean="0">
                <a:latin typeface="맑은 고딕" pitchFamily="50" charset="-127"/>
              </a:rPr>
              <a:t>/</a:t>
            </a:r>
            <a:r>
              <a:rPr lang="ko-KR" altLang="en-US" sz="1200" dirty="0" smtClean="0">
                <a:latin typeface="맑은 고딕" pitchFamily="50" charset="-127"/>
              </a:rPr>
              <a:t>임대</a:t>
            </a:r>
            <a:endParaRPr lang="en-US" altLang="ko-KR" sz="1200" dirty="0" smtClean="0">
              <a:latin typeface="맑은 고딕" pitchFamily="50" charset="-127"/>
            </a:endParaRPr>
          </a:p>
          <a:p>
            <a:pPr algn="ctr">
              <a:lnSpc>
                <a:spcPct val="110000"/>
              </a:lnSpc>
            </a:pPr>
            <a:r>
              <a:rPr lang="ko-KR" altLang="en-US" sz="1200" dirty="0" smtClean="0">
                <a:latin typeface="맑은 고딕" pitchFamily="50" charset="-127"/>
              </a:rPr>
              <a:t>상세 페이지</a:t>
            </a:r>
            <a:endParaRPr lang="ko-KR" altLang="en-US" sz="1200" dirty="0">
              <a:latin typeface="맑은 고딕" pitchFamily="50" charset="-127"/>
            </a:endParaRPr>
          </a:p>
        </p:txBody>
      </p:sp>
      <p:sp>
        <p:nvSpPr>
          <p:cNvPr id="67" name="Rectangle 12"/>
          <p:cNvSpPr>
            <a:spLocks noChangeArrowheads="1"/>
          </p:cNvSpPr>
          <p:nvPr/>
        </p:nvSpPr>
        <p:spPr bwMode="auto">
          <a:xfrm>
            <a:off x="4243529" y="2784821"/>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en-US" altLang="ko-KR" sz="1200" dirty="0" smtClean="0">
                <a:latin typeface="맑은 고딕" pitchFamily="50" charset="-127"/>
              </a:rPr>
              <a:t>NFT </a:t>
            </a:r>
            <a:r>
              <a:rPr lang="ko-KR" altLang="en-US" sz="1200" dirty="0" smtClean="0">
                <a:latin typeface="맑은 고딕" pitchFamily="50" charset="-127"/>
              </a:rPr>
              <a:t>대여 등록</a:t>
            </a:r>
            <a:endParaRPr lang="en-US" altLang="ko-KR" sz="1200" dirty="0" smtClean="0">
              <a:latin typeface="맑은 고딕" pitchFamily="50" charset="-127"/>
            </a:endParaRPr>
          </a:p>
        </p:txBody>
      </p:sp>
      <p:sp>
        <p:nvSpPr>
          <p:cNvPr id="68" name="Rectangle 12"/>
          <p:cNvSpPr>
            <a:spLocks noChangeArrowheads="1"/>
          </p:cNvSpPr>
          <p:nvPr/>
        </p:nvSpPr>
        <p:spPr bwMode="auto">
          <a:xfrm>
            <a:off x="5527674" y="1492522"/>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en-US" altLang="ko-KR" sz="1200" dirty="0" smtClean="0">
                <a:latin typeface="맑은 고딕" pitchFamily="50" charset="-127"/>
              </a:rPr>
              <a:t>NFT </a:t>
            </a:r>
            <a:r>
              <a:rPr lang="ko-KR" altLang="en-US" sz="1200" dirty="0" smtClean="0">
                <a:latin typeface="맑은 고딕" pitchFamily="50" charset="-127"/>
              </a:rPr>
              <a:t>담보</a:t>
            </a:r>
            <a:endParaRPr lang="en-US" altLang="ko-KR" sz="1200" dirty="0" smtClean="0">
              <a:latin typeface="맑은 고딕" pitchFamily="50" charset="-127"/>
            </a:endParaRPr>
          </a:p>
        </p:txBody>
      </p:sp>
      <p:sp>
        <p:nvSpPr>
          <p:cNvPr id="70" name="Rectangle 12"/>
          <p:cNvSpPr>
            <a:spLocks noChangeArrowheads="1"/>
          </p:cNvSpPr>
          <p:nvPr/>
        </p:nvSpPr>
        <p:spPr bwMode="auto">
          <a:xfrm>
            <a:off x="5527675" y="2171063"/>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코인 담보로 </a:t>
            </a:r>
            <a:r>
              <a:rPr lang="en-US" altLang="ko-KR" sz="1200" dirty="0" smtClean="0">
                <a:latin typeface="맑은 고딕" pitchFamily="50" charset="-127"/>
              </a:rPr>
              <a:t>NFT </a:t>
            </a:r>
            <a:r>
              <a:rPr lang="ko-KR" altLang="en-US" sz="1200" dirty="0" smtClean="0">
                <a:latin typeface="맑은 고딕" pitchFamily="50" charset="-127"/>
              </a:rPr>
              <a:t>구매</a:t>
            </a:r>
            <a:endParaRPr lang="en-US" altLang="ko-KR" sz="1200" dirty="0" smtClean="0">
              <a:latin typeface="맑은 고딕" pitchFamily="50" charset="-127"/>
            </a:endParaRPr>
          </a:p>
        </p:txBody>
      </p:sp>
      <p:sp>
        <p:nvSpPr>
          <p:cNvPr id="72" name="Rectangle 12"/>
          <p:cNvSpPr>
            <a:spLocks noChangeArrowheads="1"/>
          </p:cNvSpPr>
          <p:nvPr/>
        </p:nvSpPr>
        <p:spPr bwMode="auto">
          <a:xfrm>
            <a:off x="5527675" y="2775325"/>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en-US" altLang="ko-KR" sz="1200" dirty="0" smtClean="0">
                <a:latin typeface="맑은 고딕" pitchFamily="50" charset="-127"/>
              </a:rPr>
              <a:t>NFT </a:t>
            </a:r>
            <a:r>
              <a:rPr lang="ko-KR" altLang="en-US" sz="1200" dirty="0" smtClean="0">
                <a:latin typeface="맑은 고딕" pitchFamily="50" charset="-127"/>
              </a:rPr>
              <a:t>담보로</a:t>
            </a:r>
            <a:endParaRPr lang="en-US" altLang="ko-KR" sz="1200" dirty="0" smtClean="0">
              <a:latin typeface="맑은 고딕" pitchFamily="50" charset="-127"/>
            </a:endParaRPr>
          </a:p>
          <a:p>
            <a:pPr algn="ctr">
              <a:lnSpc>
                <a:spcPct val="110000"/>
              </a:lnSpc>
            </a:pPr>
            <a:r>
              <a:rPr lang="ko-KR" altLang="en-US" sz="1200" dirty="0" smtClean="0">
                <a:latin typeface="맑은 고딕" pitchFamily="50" charset="-127"/>
              </a:rPr>
              <a:t>코인 대출</a:t>
            </a:r>
            <a:endParaRPr lang="en-US" altLang="ko-KR" sz="1200" dirty="0" smtClean="0">
              <a:latin typeface="맑은 고딕" pitchFamily="50" charset="-127"/>
            </a:endParaRPr>
          </a:p>
        </p:txBody>
      </p:sp>
      <p:sp>
        <p:nvSpPr>
          <p:cNvPr id="74" name="Rectangle 23"/>
          <p:cNvSpPr>
            <a:spLocks noChangeArrowheads="1"/>
          </p:cNvSpPr>
          <p:nvPr/>
        </p:nvSpPr>
        <p:spPr bwMode="gray">
          <a:xfrm>
            <a:off x="335280" y="1417320"/>
            <a:ext cx="7799228" cy="4892040"/>
          </a:xfrm>
          <a:prstGeom prst="rect">
            <a:avLst/>
          </a:prstGeom>
          <a:noFill/>
          <a:ln w="9525" algn="ctr">
            <a:solidFill>
              <a:srgbClr val="000066"/>
            </a:solidFill>
            <a:prstDash val="lgDash"/>
            <a:miter lim="800000"/>
            <a:headEnd/>
            <a:tailEnd/>
          </a:ln>
          <a:extLst>
            <a:ext uri="{909E8E84-426E-40DD-AFC4-6F175D3DCCD1}">
              <a14:hiddenFill xmlns:a14="http://schemas.microsoft.com/office/drawing/2010/main">
                <a:solidFill>
                  <a:srgbClr val="FFFFFF"/>
                </a:solidFill>
              </a14:hiddenFill>
            </a:ext>
          </a:extLst>
        </p:spPr>
        <p:txBody>
          <a:bodyPr wrap="none" lIns="90488" tIns="44450" rIns="90488" bIns="44450" anchor="ctr"/>
          <a:lstStyle/>
          <a:p>
            <a:pPr algn="ctr"/>
            <a:endParaRPr lang="ko-KR" altLang="en-US">
              <a:latin typeface="맑은 고딕" pitchFamily="50" charset="-127"/>
            </a:endParaRPr>
          </a:p>
        </p:txBody>
      </p:sp>
      <p:sp>
        <p:nvSpPr>
          <p:cNvPr id="77" name="Rectangle 12"/>
          <p:cNvSpPr>
            <a:spLocks noChangeArrowheads="1"/>
          </p:cNvSpPr>
          <p:nvPr/>
        </p:nvSpPr>
        <p:spPr bwMode="auto">
          <a:xfrm>
            <a:off x="4244426" y="3388519"/>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en-US" altLang="ko-KR" sz="1200" dirty="0" smtClean="0">
                <a:latin typeface="맑은 고딕" pitchFamily="50" charset="-127"/>
              </a:rPr>
              <a:t>NFT </a:t>
            </a:r>
            <a:r>
              <a:rPr lang="ko-KR" altLang="en-US" sz="1200" dirty="0" smtClean="0">
                <a:latin typeface="맑은 고딕" pitchFamily="50" charset="-127"/>
              </a:rPr>
              <a:t>대여 요청</a:t>
            </a:r>
            <a:endParaRPr lang="en-US" altLang="ko-KR" sz="1200" dirty="0" smtClean="0">
              <a:latin typeface="맑은 고딕" pitchFamily="50" charset="-127"/>
            </a:endParaRPr>
          </a:p>
        </p:txBody>
      </p:sp>
      <p:sp>
        <p:nvSpPr>
          <p:cNvPr id="45" name="Rectangle 12"/>
          <p:cNvSpPr>
            <a:spLocks noChangeArrowheads="1"/>
          </p:cNvSpPr>
          <p:nvPr/>
        </p:nvSpPr>
        <p:spPr bwMode="auto">
          <a:xfrm>
            <a:off x="1729421" y="2163504"/>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en-US" altLang="ko-KR" sz="1200" dirty="0" smtClean="0">
                <a:latin typeface="맑은 고딕" pitchFamily="50" charset="-127"/>
              </a:rPr>
              <a:t>DAO </a:t>
            </a:r>
            <a:r>
              <a:rPr lang="ko-KR" altLang="en-US" sz="1200" dirty="0" smtClean="0">
                <a:latin typeface="맑은 고딕" pitchFamily="50" charset="-127"/>
              </a:rPr>
              <a:t>운영</a:t>
            </a:r>
            <a:endParaRPr lang="en-US" altLang="ko-KR" sz="1200" dirty="0" smtClean="0">
              <a:latin typeface="맑은 고딕" pitchFamily="50" charset="-127"/>
            </a:endParaRPr>
          </a:p>
          <a:p>
            <a:pPr algn="ctr">
              <a:lnSpc>
                <a:spcPct val="110000"/>
              </a:lnSpc>
            </a:pPr>
            <a:r>
              <a:rPr lang="en-US" altLang="ko-KR" sz="1200" dirty="0" smtClean="0">
                <a:latin typeface="맑은 고딕" pitchFamily="50" charset="-127"/>
              </a:rPr>
              <a:t>(</a:t>
            </a:r>
            <a:r>
              <a:rPr lang="ko-KR" altLang="en-US" sz="1200" dirty="0" err="1" smtClean="0">
                <a:latin typeface="맑은 고딕" pitchFamily="50" charset="-127"/>
              </a:rPr>
              <a:t>노답</a:t>
            </a:r>
            <a:r>
              <a:rPr lang="en-US" altLang="ko-KR" sz="1200" dirty="0" smtClean="0">
                <a:latin typeface="맑은 고딕" pitchFamily="50" charset="-127"/>
              </a:rPr>
              <a:t>..)</a:t>
            </a:r>
          </a:p>
        </p:txBody>
      </p:sp>
      <p:sp>
        <p:nvSpPr>
          <p:cNvPr id="46" name="Rectangle 12"/>
          <p:cNvSpPr>
            <a:spLocks noChangeArrowheads="1"/>
          </p:cNvSpPr>
          <p:nvPr/>
        </p:nvSpPr>
        <p:spPr bwMode="auto">
          <a:xfrm>
            <a:off x="1729420" y="2858394"/>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토큰 생태계</a:t>
            </a:r>
            <a:endParaRPr lang="en-US" altLang="ko-KR" sz="1200" dirty="0" smtClean="0">
              <a:latin typeface="맑은 고딕" pitchFamily="50" charset="-127"/>
            </a:endParaRPr>
          </a:p>
        </p:txBody>
      </p:sp>
      <p:sp>
        <p:nvSpPr>
          <p:cNvPr id="48" name="Rectangle 12"/>
          <p:cNvSpPr>
            <a:spLocks noChangeArrowheads="1"/>
          </p:cNvSpPr>
          <p:nvPr/>
        </p:nvSpPr>
        <p:spPr bwMode="auto">
          <a:xfrm>
            <a:off x="2979188" y="2842691"/>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토큰 </a:t>
            </a:r>
            <a:r>
              <a:rPr lang="ko-KR" altLang="en-US" sz="1200" dirty="0" err="1" smtClean="0">
                <a:latin typeface="맑은 고딕" pitchFamily="50" charset="-127"/>
              </a:rPr>
              <a:t>스테이킹</a:t>
            </a:r>
            <a:endParaRPr lang="en-US" altLang="ko-KR" sz="1200" dirty="0" smtClean="0">
              <a:latin typeface="맑은 고딕" pitchFamily="50" charset="-127"/>
            </a:endParaRPr>
          </a:p>
        </p:txBody>
      </p:sp>
      <p:sp>
        <p:nvSpPr>
          <p:cNvPr id="50" name="Rectangle 12"/>
          <p:cNvSpPr>
            <a:spLocks noChangeArrowheads="1"/>
          </p:cNvSpPr>
          <p:nvPr/>
        </p:nvSpPr>
        <p:spPr bwMode="auto">
          <a:xfrm>
            <a:off x="2979188" y="3477287"/>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en-US" altLang="ko-KR" sz="1200" dirty="0" smtClean="0">
                <a:latin typeface="맑은 고딕" pitchFamily="50" charset="-127"/>
              </a:rPr>
              <a:t>NFT </a:t>
            </a:r>
            <a:r>
              <a:rPr lang="ko-KR" altLang="en-US" sz="1200" dirty="0" err="1" smtClean="0">
                <a:latin typeface="맑은 고딕" pitchFamily="50" charset="-127"/>
              </a:rPr>
              <a:t>스테이킹</a:t>
            </a:r>
            <a:r>
              <a:rPr lang="en-US" altLang="ko-KR" sz="1200" dirty="0" smtClean="0">
                <a:latin typeface="맑은 고딕" pitchFamily="50" charset="-127"/>
              </a:rPr>
              <a:t>?</a:t>
            </a:r>
          </a:p>
          <a:p>
            <a:pPr algn="ctr">
              <a:lnSpc>
                <a:spcPct val="110000"/>
              </a:lnSpc>
            </a:pPr>
            <a:r>
              <a:rPr lang="en-US" altLang="ko-KR" sz="1200" dirty="0" smtClean="0">
                <a:latin typeface="맑은 고딕" pitchFamily="50" charset="-127"/>
              </a:rPr>
              <a:t>(</a:t>
            </a:r>
            <a:r>
              <a:rPr lang="ko-KR" altLang="en-US" sz="1200" dirty="0" smtClean="0">
                <a:latin typeface="맑은 고딕" pitchFamily="50" charset="-127"/>
              </a:rPr>
              <a:t>대여 등록</a:t>
            </a:r>
            <a:r>
              <a:rPr lang="en-US" altLang="ko-KR" sz="1200" dirty="0" smtClean="0">
                <a:latin typeface="맑은 고딕" pitchFamily="50" charset="-127"/>
              </a:rPr>
              <a:t>)</a:t>
            </a:r>
          </a:p>
        </p:txBody>
      </p:sp>
      <p:sp>
        <p:nvSpPr>
          <p:cNvPr id="51" name="Rectangle 12"/>
          <p:cNvSpPr>
            <a:spLocks noChangeArrowheads="1"/>
          </p:cNvSpPr>
          <p:nvPr/>
        </p:nvSpPr>
        <p:spPr bwMode="auto">
          <a:xfrm>
            <a:off x="426313" y="4069080"/>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내 </a:t>
            </a:r>
            <a:r>
              <a:rPr lang="en-US" altLang="ko-KR" sz="1200" dirty="0" err="1" smtClean="0">
                <a:latin typeface="맑은 고딕" pitchFamily="50" charset="-127"/>
              </a:rPr>
              <a:t>SubDAO</a:t>
            </a:r>
            <a:endParaRPr lang="en-US" altLang="ko-KR" sz="1200" dirty="0" smtClean="0">
              <a:latin typeface="맑은 고딕" pitchFamily="50" charset="-127"/>
            </a:endParaRPr>
          </a:p>
          <a:p>
            <a:pPr algn="ctr">
              <a:lnSpc>
                <a:spcPct val="110000"/>
              </a:lnSpc>
            </a:pPr>
            <a:r>
              <a:rPr lang="ko-KR" altLang="en-US" sz="1200" dirty="0" smtClean="0">
                <a:latin typeface="맑은 고딕" pitchFamily="50" charset="-127"/>
              </a:rPr>
              <a:t>페이지</a:t>
            </a:r>
            <a:endParaRPr lang="ko-KR" altLang="en-US" sz="1200" dirty="0">
              <a:latin typeface="맑은 고딕" pitchFamily="50" charset="-127"/>
            </a:endParaRPr>
          </a:p>
        </p:txBody>
      </p:sp>
      <p:sp>
        <p:nvSpPr>
          <p:cNvPr id="52" name="Rectangle 12"/>
          <p:cNvSpPr>
            <a:spLocks noChangeArrowheads="1"/>
          </p:cNvSpPr>
          <p:nvPr/>
        </p:nvSpPr>
        <p:spPr bwMode="auto">
          <a:xfrm>
            <a:off x="444324" y="4656153"/>
            <a:ext cx="1860565"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내 </a:t>
            </a:r>
            <a:r>
              <a:rPr lang="en-US" altLang="ko-KR" sz="1200" dirty="0" err="1" smtClean="0">
                <a:latin typeface="맑은 고딕" pitchFamily="50" charset="-127"/>
              </a:rPr>
              <a:t>SubDAO</a:t>
            </a:r>
            <a:endParaRPr lang="en-US" altLang="ko-KR" sz="1200" dirty="0" smtClean="0">
              <a:latin typeface="맑은 고딕" pitchFamily="50" charset="-127"/>
            </a:endParaRPr>
          </a:p>
          <a:p>
            <a:pPr algn="ctr">
              <a:lnSpc>
                <a:spcPct val="110000"/>
              </a:lnSpc>
            </a:pPr>
            <a:r>
              <a:rPr lang="ko-KR" altLang="en-US" sz="1200" dirty="0" smtClean="0">
                <a:latin typeface="맑은 고딕" pitchFamily="50" charset="-127"/>
              </a:rPr>
              <a:t>운영 </a:t>
            </a:r>
            <a:r>
              <a:rPr lang="en-US" altLang="ko-KR" sz="1200" dirty="0" smtClean="0">
                <a:latin typeface="맑은 고딕" pitchFamily="50" charset="-127"/>
              </a:rPr>
              <a:t>(</a:t>
            </a:r>
            <a:r>
              <a:rPr lang="ko-KR" altLang="en-US" sz="1200" dirty="0" smtClean="0">
                <a:latin typeface="맑은 고딕" pitchFamily="50" charset="-127"/>
              </a:rPr>
              <a:t>구매</a:t>
            </a:r>
            <a:r>
              <a:rPr lang="en-US" altLang="ko-KR" sz="1200" dirty="0" smtClean="0">
                <a:latin typeface="맑은 고딕" pitchFamily="50" charset="-127"/>
              </a:rPr>
              <a:t>, </a:t>
            </a:r>
            <a:r>
              <a:rPr lang="ko-KR" altLang="en-US" sz="1200" dirty="0" smtClean="0">
                <a:latin typeface="맑은 고딕" pitchFamily="50" charset="-127"/>
              </a:rPr>
              <a:t>판매</a:t>
            </a:r>
            <a:r>
              <a:rPr lang="en-US" altLang="ko-KR" sz="1200" dirty="0" smtClean="0">
                <a:latin typeface="맑은 고딕" pitchFamily="50" charset="-127"/>
              </a:rPr>
              <a:t>, </a:t>
            </a:r>
            <a:r>
              <a:rPr lang="ko-KR" altLang="en-US" sz="1200" dirty="0" smtClean="0">
                <a:latin typeface="맑은 고딕" pitchFamily="50" charset="-127"/>
              </a:rPr>
              <a:t>대여 등</a:t>
            </a:r>
            <a:r>
              <a:rPr lang="en-US" altLang="ko-KR" sz="1200" dirty="0" smtClean="0">
                <a:latin typeface="맑은 고딕" pitchFamily="50" charset="-127"/>
              </a:rPr>
              <a:t>)</a:t>
            </a:r>
            <a:endParaRPr lang="ko-KR" altLang="en-US" sz="1200" dirty="0">
              <a:latin typeface="맑은 고딕" pitchFamily="50" charset="-127"/>
            </a:endParaRPr>
          </a:p>
        </p:txBody>
      </p:sp>
      <p:sp>
        <p:nvSpPr>
          <p:cNvPr id="53" name="Rectangle 12"/>
          <p:cNvSpPr>
            <a:spLocks noChangeArrowheads="1"/>
          </p:cNvSpPr>
          <p:nvPr/>
        </p:nvSpPr>
        <p:spPr bwMode="auto">
          <a:xfrm>
            <a:off x="4252740" y="3993253"/>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대여 중인 목록</a:t>
            </a:r>
            <a:endParaRPr lang="en-US" altLang="ko-KR" sz="1200" dirty="0" smtClean="0">
              <a:latin typeface="맑은 고딕" pitchFamily="50" charset="-127"/>
            </a:endParaRPr>
          </a:p>
        </p:txBody>
      </p:sp>
    </p:spTree>
    <p:extLst>
      <p:ext uri="{BB962C8B-B14F-4D97-AF65-F5344CB8AC3E}">
        <p14:creationId xmlns:p14="http://schemas.microsoft.com/office/powerpoint/2010/main" val="220471096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2</a:t>
            </a:r>
            <a:r>
              <a:rPr lang="ko-KR" altLang="en-US" dirty="0" smtClean="0">
                <a:solidFill>
                  <a:schemeClr val="tx2"/>
                </a:solidFill>
                <a:latin typeface="맑은 고딕" pitchFamily="50" charset="-127"/>
              </a:rPr>
              <a:t>단계</a:t>
            </a:r>
            <a:endParaRPr lang="en-US" altLang="ko-KR" dirty="0">
              <a:solidFill>
                <a:schemeClr val="tx2"/>
              </a:solidFill>
              <a:latin typeface="맑은 고딕" pitchFamily="50" charset="-127"/>
            </a:endParaRPr>
          </a:p>
        </p:txBody>
      </p:sp>
      <p:sp>
        <p:nvSpPr>
          <p:cNvPr id="2" name="직사각형 1"/>
          <p:cNvSpPr/>
          <p:nvPr/>
        </p:nvSpPr>
        <p:spPr bwMode="gray">
          <a:xfrm>
            <a:off x="287164" y="1417320"/>
            <a:ext cx="9321973" cy="5029200"/>
          </a:xfrm>
          <a:prstGeom prst="rect">
            <a:avLst/>
          </a:prstGeom>
          <a:noFill/>
          <a:ln w="25400" algn="ctr">
            <a:solidFill>
              <a:schemeClr val="bg1">
                <a:lumMod val="75000"/>
              </a:schemeClr>
            </a:solidFill>
            <a:miter lim="800000"/>
            <a:headEnd/>
            <a:tailEnd/>
          </a:ln>
        </p:spPr>
        <p:txBody>
          <a:bodyPr lIns="90000" tIns="46800" rIns="90000" bIns="46800" rtlCol="0" anchor="ctr">
            <a:spAutoFit/>
          </a:bodyPr>
          <a:lstStyle/>
          <a:p>
            <a:pPr marL="174625" indent="-174625" algn="ctr">
              <a:spcBef>
                <a:spcPct val="20000"/>
              </a:spcBef>
              <a:buFont typeface="Wingdings" panose="05000000000000000000" pitchFamily="2" charset="2"/>
              <a:buChar char="§"/>
            </a:pPr>
            <a:endParaRPr lang="ko-KR" altLang="en-US" sz="1300" b="0" dirty="0">
              <a:latin typeface="맑은 고딕" panose="020B0503020000020004" pitchFamily="50" charset="-127"/>
            </a:endParaRPr>
          </a:p>
        </p:txBody>
      </p:sp>
      <p:sp>
        <p:nvSpPr>
          <p:cNvPr id="4" name="직사각형 3"/>
          <p:cNvSpPr/>
          <p:nvPr/>
        </p:nvSpPr>
        <p:spPr bwMode="gray">
          <a:xfrm>
            <a:off x="381000" y="1512913"/>
            <a:ext cx="9144000" cy="534635"/>
          </a:xfrm>
          <a:prstGeom prst="rect">
            <a:avLst/>
          </a:prstGeom>
          <a:solidFill>
            <a:schemeClr val="bg1"/>
          </a:solidFill>
          <a:ln w="9525" algn="ctr">
            <a:solidFill>
              <a:schemeClr val="bg1">
                <a:lumMod val="75000"/>
              </a:schemeClr>
            </a:solidFill>
            <a:miter lim="800000"/>
            <a:headEnd/>
            <a:tailEnd/>
          </a:ln>
        </p:spPr>
        <p:txBody>
          <a:bodyPr lIns="90000" tIns="46800" rIns="90000" bIns="46800" rtlCol="0" anchor="ctr">
            <a:spAutoFit/>
          </a:bodyPr>
          <a:lstStyle/>
          <a:p>
            <a:pPr algn="ctr">
              <a:spcBef>
                <a:spcPct val="20000"/>
              </a:spcBef>
            </a:pPr>
            <a:endParaRPr lang="en-US" altLang="ko-KR" sz="1300" b="0" dirty="0">
              <a:latin typeface="맑은 고딕" panose="020B0503020000020004" pitchFamily="50" charset="-127"/>
            </a:endParaRPr>
          </a:p>
          <a:p>
            <a:pPr algn="ctr">
              <a:spcBef>
                <a:spcPct val="20000"/>
              </a:spcBef>
            </a:pPr>
            <a:endParaRPr lang="ko-KR" altLang="en-US" sz="1300" b="0" dirty="0">
              <a:latin typeface="맑은 고딕" panose="020B0503020000020004" pitchFamily="50" charset="-127"/>
            </a:endParaRPr>
          </a:p>
        </p:txBody>
      </p:sp>
      <p:sp>
        <p:nvSpPr>
          <p:cNvPr id="12" name="Rectangle 83"/>
          <p:cNvSpPr>
            <a:spLocks noChangeArrowheads="1"/>
          </p:cNvSpPr>
          <p:nvPr/>
        </p:nvSpPr>
        <p:spPr bwMode="gray">
          <a:xfrm>
            <a:off x="5455920" y="1570968"/>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새 구매</a:t>
            </a:r>
            <a:endParaRPr kumimoji="0" lang="ko-KR" altLang="en-US" sz="1400" dirty="0">
              <a:solidFill>
                <a:schemeClr val="bg1"/>
              </a:solidFill>
            </a:endParaRPr>
          </a:p>
        </p:txBody>
      </p:sp>
      <p:sp>
        <p:nvSpPr>
          <p:cNvPr id="13" name="Rectangle 83"/>
          <p:cNvSpPr>
            <a:spLocks noChangeArrowheads="1"/>
          </p:cNvSpPr>
          <p:nvPr/>
        </p:nvSpPr>
        <p:spPr bwMode="gray">
          <a:xfrm>
            <a:off x="6461760" y="1575125"/>
            <a:ext cx="915035"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공동구매</a:t>
            </a:r>
            <a:endParaRPr kumimoji="0" lang="ko-KR" altLang="en-US" sz="1400" dirty="0">
              <a:solidFill>
                <a:schemeClr val="bg1"/>
              </a:solidFill>
            </a:endParaRPr>
          </a:p>
        </p:txBody>
      </p:sp>
      <p:sp>
        <p:nvSpPr>
          <p:cNvPr id="14" name="Rectangle 83"/>
          <p:cNvSpPr>
            <a:spLocks noChangeArrowheads="1"/>
          </p:cNvSpPr>
          <p:nvPr/>
        </p:nvSpPr>
        <p:spPr bwMode="gray">
          <a:xfrm>
            <a:off x="8153400" y="1575125"/>
            <a:ext cx="1310956" cy="410210"/>
          </a:xfrm>
          <a:prstGeom prst="rect">
            <a:avLst/>
          </a:prstGeom>
          <a:solidFill>
            <a:schemeClr val="bg1">
              <a:lumMod val="50000"/>
            </a:schemeClr>
          </a:solidFill>
          <a:ln w="12700" algn="ctr">
            <a:solidFill>
              <a:schemeClr val="bg1">
                <a:lumMod val="50000"/>
              </a:schemeClr>
            </a:solidFill>
            <a:miter lim="800000"/>
            <a:headEnd/>
            <a:tailEnd/>
          </a:ln>
          <a:effectLst/>
        </p:spPr>
        <p:txBody>
          <a:bodyPr lIns="72000" tIns="36000" rIns="72000" bIns="36000" anchor="ctr"/>
          <a:lstStyle>
            <a:lvl1pPr algn="l" eaLnBrk="0" hangingPunct="0">
              <a:spcBef>
                <a:spcPct val="0"/>
              </a:spcBef>
              <a:buClr>
                <a:schemeClr val="accent1"/>
              </a:buClr>
              <a:buSzPct val="50000"/>
              <a:buFont typeface="Monotype Sorts" pitchFamily="2" charset="2"/>
              <a:defRPr kumimoji="1" sz="1600" b="1">
                <a:solidFill>
                  <a:srgbClr val="000000"/>
                </a:solidFill>
                <a:latin typeface="맑은 고딕" panose="020B0503020000020004" pitchFamily="50" charset="-127"/>
                <a:ea typeface="맑은 고딕" panose="020B0503020000020004" pitchFamily="50" charset="-127"/>
              </a:defRPr>
            </a:lvl1pPr>
            <a:lvl2pPr marL="742950" indent="-285750" algn="l" eaLnBrk="0" latinLnBrk="1" hangingPunct="0">
              <a:spcBef>
                <a:spcPct val="25000"/>
              </a:spcBef>
              <a:spcAft>
                <a:spcPct val="15000"/>
              </a:spcAft>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2pPr>
            <a:lvl3pPr marL="1143000" indent="-228600" algn="l" eaLnBrk="0" latinLnBrk="1" hangingPunct="0">
              <a:spcBef>
                <a:spcPct val="20000"/>
              </a:spcBef>
              <a:buClr>
                <a:schemeClr val="accent2"/>
              </a:buClr>
              <a:buChar char="•"/>
              <a:defRPr kumimoji="1">
                <a:solidFill>
                  <a:schemeClr val="tx1"/>
                </a:solidFill>
                <a:latin typeface="굴림" panose="020B0600000101010101" pitchFamily="50" charset="-127"/>
                <a:ea typeface="굴림" panose="020B0600000101010101" pitchFamily="50" charset="-127"/>
              </a:defRPr>
            </a:lvl3pPr>
            <a:lvl4pPr marL="1600200" indent="-228600" algn="l" eaLnBrk="0" latinLnBrk="1" hangingPunct="0">
              <a:spcBef>
                <a:spcPct val="20000"/>
              </a:spcBef>
              <a:buClr>
                <a:schemeClr val="accent2"/>
              </a:buClr>
              <a:buFont typeface="Arial" panose="020B0604020202020204" pitchFamily="34" charset="0"/>
              <a:buChar char="–"/>
              <a:defRPr kumimoji="1">
                <a:solidFill>
                  <a:schemeClr val="tx1"/>
                </a:solidFill>
                <a:latin typeface="굴림" panose="020B0600000101010101" pitchFamily="50" charset="-127"/>
                <a:ea typeface="굴림" panose="020B0600000101010101" pitchFamily="50" charset="-127"/>
              </a:defRPr>
            </a:lvl4pPr>
            <a:lvl5pPr marL="2057400" indent="-228600" algn="l" eaLnBrk="0" latinLnBrk="1" hangingPunct="0">
              <a:spcBef>
                <a:spcPct val="20000"/>
              </a:spcBef>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buClr>
                <a:schemeClr val="accent2"/>
              </a:buClr>
              <a:buFont typeface="Arial" panose="020B0604020202020204" pitchFamily="34" charset="0"/>
              <a:buChar char="&g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spcBef>
                <a:spcPct val="30000"/>
              </a:spcBef>
              <a:buClrTx/>
              <a:buSzTx/>
              <a:buFontTx/>
              <a:buNone/>
              <a:defRPr/>
            </a:pPr>
            <a:r>
              <a:rPr kumimoji="0" lang="ko-KR" altLang="en-US" sz="1400" dirty="0" smtClean="0">
                <a:solidFill>
                  <a:schemeClr val="bg1"/>
                </a:solidFill>
              </a:rPr>
              <a:t>지갑</a:t>
            </a:r>
            <a:r>
              <a:rPr kumimoji="0" lang="en-US" altLang="ko-KR" sz="1400" dirty="0" smtClean="0">
                <a:solidFill>
                  <a:schemeClr val="bg1"/>
                </a:solidFill>
              </a:rPr>
              <a:t>(</a:t>
            </a:r>
            <a:r>
              <a:rPr kumimoji="0" lang="ko-KR" altLang="en-US" sz="1400" dirty="0" err="1" smtClean="0">
                <a:solidFill>
                  <a:schemeClr val="bg1"/>
                </a:solidFill>
              </a:rPr>
              <a:t>내정보</a:t>
            </a:r>
            <a:r>
              <a:rPr kumimoji="0" lang="en-US" altLang="ko-KR" sz="1400" dirty="0" smtClean="0">
                <a:solidFill>
                  <a:schemeClr val="bg1"/>
                </a:solidFill>
              </a:rPr>
              <a:t>)</a:t>
            </a:r>
          </a:p>
        </p:txBody>
      </p:sp>
      <p:sp>
        <p:nvSpPr>
          <p:cNvPr id="16" name="Rectangle 37"/>
          <p:cNvSpPr>
            <a:spLocks noChangeArrowheads="1"/>
          </p:cNvSpPr>
          <p:nvPr/>
        </p:nvSpPr>
        <p:spPr bwMode="auto">
          <a:xfrm>
            <a:off x="7467600" y="1566812"/>
            <a:ext cx="613568" cy="418523"/>
          </a:xfrm>
          <a:prstGeom prst="rect">
            <a:avLst/>
          </a:prstGeom>
          <a:solidFill>
            <a:srgbClr val="000066"/>
          </a:solidFill>
          <a:ln>
            <a:solidFill>
              <a:srgbClr val="000066"/>
            </a:solidFill>
          </a:ln>
        </p:spPr>
        <p:txBody>
          <a:bodyPr anchor="ctr"/>
          <a:lstStyle/>
          <a:p>
            <a:pPr algn="ctr" eaLnBrk="1" fontAlgn="auto" hangingPunct="1">
              <a:spcBef>
                <a:spcPts val="0"/>
              </a:spcBef>
              <a:spcAft>
                <a:spcPts val="0"/>
              </a:spcAft>
              <a:defRPr/>
            </a:pPr>
            <a:r>
              <a:rPr kumimoji="1" lang="en-US" altLang="ko-KR" kern="0" dirty="0" smtClean="0">
                <a:solidFill>
                  <a:schemeClr val="bg1"/>
                </a:solidFill>
                <a:latin typeface="맑은 고딕" panose="020B0503020000020004" pitchFamily="50" charset="-127"/>
              </a:rPr>
              <a:t>DAO</a:t>
            </a:r>
            <a:endParaRPr kumimoji="1" lang="ko-KR" altLang="en-US" kern="0" dirty="0">
              <a:solidFill>
                <a:schemeClr val="bg1"/>
              </a:solidFill>
              <a:latin typeface="맑은 고딕" panose="020B0503020000020004" pitchFamily="50" charset="-127"/>
            </a:endParaRPr>
          </a:p>
        </p:txBody>
      </p:sp>
      <p:sp>
        <p:nvSpPr>
          <p:cNvPr id="10" name="Rectangle 2"/>
          <p:cNvSpPr txBox="1">
            <a:spLocks noChangeArrowheads="1"/>
          </p:cNvSpPr>
          <p:nvPr/>
        </p:nvSpPr>
        <p:spPr bwMode="auto">
          <a:xfrm>
            <a:off x="296863" y="482802"/>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en-US" altLang="ko-KR" sz="1800" b="0" kern="0" dirty="0" smtClean="0">
                <a:latin typeface="맑은 고딕" panose="020B0503020000020004" pitchFamily="50" charset="-127"/>
              </a:rPr>
              <a:t>TBD (</a:t>
            </a:r>
            <a:r>
              <a:rPr lang="ko-KR" altLang="en-US" sz="1800" b="0" kern="0" dirty="0" smtClean="0">
                <a:latin typeface="맑은 고딕" panose="020B0503020000020004" pitchFamily="50" charset="-127"/>
              </a:rPr>
              <a:t>준비 못함</a:t>
            </a:r>
            <a:r>
              <a:rPr lang="en-US" altLang="ko-KR" sz="1800" b="0" kern="0" dirty="0">
                <a:latin typeface="맑은 고딕" panose="020B0503020000020004" pitchFamily="50" charset="-127"/>
              </a:rPr>
              <a:t>)</a:t>
            </a:r>
            <a:endParaRPr lang="ko-KR" altLang="en-US" sz="1800" b="0" kern="0" dirty="0">
              <a:latin typeface="맑은 고딕" panose="020B0503020000020004" pitchFamily="50" charset="-127"/>
            </a:endParaRPr>
          </a:p>
        </p:txBody>
      </p:sp>
      <p:pic>
        <p:nvPicPr>
          <p:cNvPr id="11" name="Picture 1" descr="C:\Users\jihon\Desktop\참고PPT\01\0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546030"/>
            <a:ext cx="2109787" cy="51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372704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9"/>
          <p:cNvSpPr>
            <a:spLocks noChangeArrowheads="1"/>
          </p:cNvSpPr>
          <p:nvPr/>
        </p:nvSpPr>
        <p:spPr bwMode="gray">
          <a:xfrm>
            <a:off x="900113" y="3146425"/>
            <a:ext cx="4327525" cy="460375"/>
          </a:xfrm>
          <a:prstGeom prst="rect">
            <a:avLst/>
          </a:prstGeom>
          <a:solidFill>
            <a:srgbClr val="000066"/>
          </a:solidFill>
          <a:ln w="9525" algn="ctr">
            <a:solidFill>
              <a:srgbClr val="000066"/>
            </a:solidFill>
            <a:miter lim="800000"/>
            <a:headEnd/>
            <a:tailEnd/>
          </a:ln>
        </p:spPr>
        <p:txBody>
          <a:bodyPr anchor="ctr"/>
          <a:lstStyle/>
          <a:p>
            <a:pPr defTabSz="957263">
              <a:lnSpc>
                <a:spcPct val="90000"/>
              </a:lnSpc>
            </a:pPr>
            <a:endParaRPr lang="ko-KR" altLang="en-US" sz="1600">
              <a:solidFill>
                <a:schemeClr val="tx1"/>
              </a:solidFill>
              <a:latin typeface="맑은 고딕" pitchFamily="50" charset="-127"/>
            </a:endParaRPr>
          </a:p>
        </p:txBody>
      </p:sp>
      <p:sp>
        <p:nvSpPr>
          <p:cNvPr id="68611" name="Line 8"/>
          <p:cNvSpPr>
            <a:spLocks noChangeShapeType="1"/>
          </p:cNvSpPr>
          <p:nvPr/>
        </p:nvSpPr>
        <p:spPr bwMode="auto">
          <a:xfrm>
            <a:off x="896938" y="1927225"/>
            <a:ext cx="3678237"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wrap="none" lIns="0" tIns="0" rIns="0" bIns="0" anchor="ctr"/>
          <a:lstStyle/>
          <a:p>
            <a:endParaRPr lang="ko-KR" altLang="en-US"/>
          </a:p>
        </p:txBody>
      </p:sp>
      <p:sp>
        <p:nvSpPr>
          <p:cNvPr id="68612" name="Rectangle 9"/>
          <p:cNvSpPr>
            <a:spLocks noChangeArrowheads="1"/>
          </p:cNvSpPr>
          <p:nvPr/>
        </p:nvSpPr>
        <p:spPr bwMode="auto">
          <a:xfrm>
            <a:off x="1076325" y="1530350"/>
            <a:ext cx="457200" cy="2746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999999"/>
                  </a:outerShdw>
                </a:effectLst>
              </a14:hiddenEffects>
            </a:ext>
          </a:extLst>
        </p:spPr>
        <p:txBody>
          <a:bodyPr wrap="none" lIns="0" tIns="0" rIns="0" bIns="0">
            <a:spAutoFit/>
          </a:bodyPr>
          <a:lstStyle/>
          <a:p>
            <a:pPr algn="ctr" eaLnBrk="1" latinLnBrk="1" hangingPunct="1">
              <a:spcBef>
                <a:spcPct val="30000"/>
              </a:spcBef>
            </a:pPr>
            <a:r>
              <a:rPr kumimoji="1" lang="ko-KR" altLang="en-US" sz="1800">
                <a:solidFill>
                  <a:schemeClr val="tx1"/>
                </a:solidFill>
              </a:rPr>
              <a:t>목차</a:t>
            </a:r>
          </a:p>
        </p:txBody>
      </p:sp>
      <p:sp>
        <p:nvSpPr>
          <p:cNvPr id="68613" name="Text Box 4"/>
          <p:cNvSpPr txBox="1">
            <a:spLocks noChangeArrowheads="1"/>
          </p:cNvSpPr>
          <p:nvPr/>
        </p:nvSpPr>
        <p:spPr bwMode="gray">
          <a:xfrm>
            <a:off x="992188" y="2097088"/>
            <a:ext cx="5378450" cy="261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marL="355600" indent="-355600">
              <a:defRPr sz="1400" b="1">
                <a:solidFill>
                  <a:srgbClr val="000000"/>
                </a:solidFill>
                <a:latin typeface="Arial" pitchFamily="34" charset="0"/>
                <a:ea typeface="맑은 고딕" pitchFamily="50" charset="-127"/>
              </a:defRPr>
            </a:lvl1pPr>
            <a:lvl2pPr marL="742950" indent="-285750">
              <a:defRPr sz="1400" b="1">
                <a:solidFill>
                  <a:srgbClr val="000000"/>
                </a:solidFill>
                <a:latin typeface="Arial" pitchFamily="34" charset="0"/>
                <a:ea typeface="맑은 고딕" pitchFamily="50" charset="-127"/>
              </a:defRPr>
            </a:lvl2pPr>
            <a:lvl3pPr marL="1143000" indent="-228600">
              <a:defRPr sz="1400" b="1">
                <a:solidFill>
                  <a:srgbClr val="000000"/>
                </a:solidFill>
                <a:latin typeface="Arial" pitchFamily="34" charset="0"/>
                <a:ea typeface="맑은 고딕" pitchFamily="50" charset="-127"/>
              </a:defRPr>
            </a:lvl3pPr>
            <a:lvl4pPr marL="1600200" indent="-228600">
              <a:defRPr sz="1400" b="1">
                <a:solidFill>
                  <a:srgbClr val="000000"/>
                </a:solidFill>
                <a:latin typeface="Arial" pitchFamily="34" charset="0"/>
                <a:ea typeface="맑은 고딕" pitchFamily="50" charset="-127"/>
              </a:defRPr>
            </a:lvl4pPr>
            <a:lvl5pPr marL="2057400" indent="-228600">
              <a:defRPr sz="1400" b="1">
                <a:solidFill>
                  <a:srgbClr val="000000"/>
                </a:solidFill>
                <a:latin typeface="Arial" pitchFamily="34" charset="0"/>
                <a:ea typeface="맑은 고딕" pitchFamily="50" charset="-127"/>
              </a:defRPr>
            </a:lvl5pPr>
            <a:lvl6pPr marL="2514600" indent="-228600"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pPr>
              <a:lnSpc>
                <a:spcPct val="125000"/>
              </a:lnSpc>
              <a:spcBef>
                <a:spcPct val="100000"/>
              </a:spcBef>
              <a:buFontTx/>
              <a:buAutoNum type="arabicPeriod"/>
            </a:pPr>
            <a:r>
              <a:rPr lang="en-US" altLang="ko-KR" sz="1600" dirty="0" smtClean="0">
                <a:solidFill>
                  <a:schemeClr val="tx1"/>
                </a:solidFill>
                <a:latin typeface="맑은 고딕" pitchFamily="50" charset="-127"/>
              </a:rPr>
              <a:t>[1</a:t>
            </a:r>
            <a:r>
              <a:rPr lang="ko-KR" altLang="en-US" sz="1600" dirty="0" smtClean="0">
                <a:solidFill>
                  <a:schemeClr val="tx1"/>
                </a:solidFill>
                <a:latin typeface="맑은 고딕" pitchFamily="50" charset="-127"/>
              </a:rPr>
              <a:t>단계</a:t>
            </a:r>
            <a:r>
              <a:rPr lang="en-US" altLang="ko-KR" sz="1600" dirty="0" smtClean="0">
                <a:solidFill>
                  <a:schemeClr val="tx1"/>
                </a:solidFill>
                <a:latin typeface="맑은 고딕" pitchFamily="50" charset="-127"/>
              </a:rPr>
              <a:t>] </a:t>
            </a:r>
            <a:r>
              <a:rPr lang="ko-KR" altLang="en-US" sz="1600" dirty="0" smtClean="0">
                <a:solidFill>
                  <a:schemeClr val="tx1"/>
                </a:solidFill>
                <a:latin typeface="맑은 고딕" pitchFamily="50" charset="-127"/>
              </a:rPr>
              <a:t>서비스 예시</a:t>
            </a:r>
            <a:endParaRPr lang="en-US" altLang="ko-KR" sz="1600" dirty="0">
              <a:solidFill>
                <a:schemeClr val="tx1"/>
              </a:solidFill>
              <a:latin typeface="맑은 고딕" pitchFamily="50" charset="-127"/>
            </a:endParaRPr>
          </a:p>
          <a:p>
            <a:pPr>
              <a:lnSpc>
                <a:spcPct val="125000"/>
              </a:lnSpc>
              <a:spcBef>
                <a:spcPct val="100000"/>
              </a:spcBef>
              <a:buFontTx/>
              <a:buAutoNum type="arabicPeriod"/>
            </a:pPr>
            <a:r>
              <a:rPr lang="en-US" altLang="ko-KR" sz="1600" dirty="0" smtClean="0">
                <a:solidFill>
                  <a:schemeClr val="tx1"/>
                </a:solidFill>
                <a:latin typeface="맑은 고딕" pitchFamily="50" charset="-127"/>
              </a:rPr>
              <a:t>[2</a:t>
            </a:r>
            <a:r>
              <a:rPr lang="ko-KR" altLang="en-US" sz="1600" dirty="0" smtClean="0">
                <a:solidFill>
                  <a:schemeClr val="tx1"/>
                </a:solidFill>
                <a:latin typeface="맑은 고딕" pitchFamily="50" charset="-127"/>
              </a:rPr>
              <a:t>단계</a:t>
            </a:r>
            <a:r>
              <a:rPr lang="en-US" altLang="ko-KR" sz="1600" dirty="0" smtClean="0">
                <a:solidFill>
                  <a:schemeClr val="tx1"/>
                </a:solidFill>
                <a:latin typeface="맑은 고딕" pitchFamily="50" charset="-127"/>
              </a:rPr>
              <a:t>] </a:t>
            </a:r>
            <a:r>
              <a:rPr lang="ko-KR" altLang="en-US" sz="1600" dirty="0" smtClean="0">
                <a:solidFill>
                  <a:schemeClr val="tx1"/>
                </a:solidFill>
                <a:latin typeface="맑은 고딕" pitchFamily="50" charset="-127"/>
              </a:rPr>
              <a:t>서비스 예시</a:t>
            </a:r>
            <a:endParaRPr lang="en-US" altLang="ko-KR" sz="1600" dirty="0">
              <a:solidFill>
                <a:schemeClr val="tx1"/>
              </a:solidFill>
              <a:latin typeface="맑은 고딕" pitchFamily="50" charset="-127"/>
            </a:endParaRPr>
          </a:p>
          <a:p>
            <a:pPr>
              <a:lnSpc>
                <a:spcPct val="125000"/>
              </a:lnSpc>
              <a:spcBef>
                <a:spcPct val="100000"/>
              </a:spcBef>
              <a:buFontTx/>
              <a:buAutoNum type="arabicPeriod"/>
            </a:pPr>
            <a:r>
              <a:rPr lang="ko-KR" altLang="en-US" sz="1600" dirty="0" smtClean="0">
                <a:solidFill>
                  <a:schemeClr val="bg1"/>
                </a:solidFill>
                <a:latin typeface="맑은 고딕" pitchFamily="50" charset="-127"/>
              </a:rPr>
              <a:t>아키텍</a:t>
            </a:r>
            <a:r>
              <a:rPr lang="ko-KR" altLang="en-US" sz="1600" dirty="0">
                <a:solidFill>
                  <a:schemeClr val="bg1"/>
                </a:solidFill>
                <a:latin typeface="맑은 고딕" pitchFamily="50" charset="-127"/>
              </a:rPr>
              <a:t>처</a:t>
            </a:r>
            <a:endParaRPr lang="en-US" altLang="ko-KR" sz="1600" dirty="0">
              <a:solidFill>
                <a:schemeClr val="bg1"/>
              </a:solidFill>
              <a:latin typeface="맑은 고딕" pitchFamily="50" charset="-127"/>
            </a:endParaRPr>
          </a:p>
          <a:p>
            <a:pPr>
              <a:lnSpc>
                <a:spcPct val="125000"/>
              </a:lnSpc>
              <a:spcBef>
                <a:spcPct val="100000"/>
              </a:spcBef>
              <a:buFontTx/>
              <a:buAutoNum type="arabicPeriod"/>
            </a:pPr>
            <a:r>
              <a:rPr lang="ko-KR" altLang="en-US" sz="1600" dirty="0" smtClean="0">
                <a:solidFill>
                  <a:schemeClr val="tx1"/>
                </a:solidFill>
                <a:latin typeface="맑은 고딕" pitchFamily="50" charset="-127"/>
              </a:rPr>
              <a:t>일</a:t>
            </a:r>
            <a:r>
              <a:rPr lang="ko-KR" altLang="en-US" sz="1600" dirty="0">
                <a:solidFill>
                  <a:schemeClr val="tx1"/>
                </a:solidFill>
                <a:latin typeface="맑은 고딕" pitchFamily="50" charset="-127"/>
              </a:rPr>
              <a:t>정</a:t>
            </a:r>
            <a:endParaRPr lang="en-US" altLang="ko-KR" sz="1600" dirty="0">
              <a:solidFill>
                <a:schemeClr val="tx1"/>
              </a:solidFill>
              <a:latin typeface="맑은 고딕" pitchFamily="50" charset="-127"/>
            </a:endParaRPr>
          </a:p>
          <a:p>
            <a:pPr>
              <a:lnSpc>
                <a:spcPct val="125000"/>
              </a:lnSpc>
              <a:spcBef>
                <a:spcPct val="100000"/>
              </a:spcBef>
              <a:buFontTx/>
              <a:buAutoNum type="arabicPeriod"/>
            </a:pPr>
            <a:endParaRPr lang="en-US" altLang="ko-KR" sz="1600" dirty="0">
              <a:solidFill>
                <a:schemeClr val="tx1"/>
              </a:solidFill>
              <a:latin typeface="맑은 고딕" pitchFamily="50" charset="-127"/>
            </a:endParaRPr>
          </a:p>
        </p:txBody>
      </p:sp>
    </p:spTree>
    <p:extLst>
      <p:ext uri="{BB962C8B-B14F-4D97-AF65-F5344CB8AC3E}">
        <p14:creationId xmlns:p14="http://schemas.microsoft.com/office/powerpoint/2010/main" val="15914730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B73C4AD-C621-4C80-8373-1417FC16A9F3}"/>
              </a:ext>
            </a:extLst>
          </p:cNvPr>
          <p:cNvSpPr>
            <a:spLocks noGrp="1"/>
          </p:cNvSpPr>
          <p:nvPr>
            <p:ph type="title"/>
          </p:nvPr>
        </p:nvSpPr>
        <p:spPr/>
        <p:txBody>
          <a:bodyPr/>
          <a:lstStyle/>
          <a:p>
            <a:r>
              <a:rPr lang="en-US" dirty="0" smtClean="0">
                <a:latin typeface="IBM Plex Sans" panose="020B0503050203000203" pitchFamily="34" charset="77"/>
              </a:rPr>
              <a:t>Services</a:t>
            </a:r>
            <a:endParaRPr lang="en-IN" dirty="0">
              <a:latin typeface="IBM Plex Sans" panose="020B0503050203000203" pitchFamily="34" charset="77"/>
            </a:endParaRPr>
          </a:p>
        </p:txBody>
      </p:sp>
      <p:grpSp>
        <p:nvGrpSpPr>
          <p:cNvPr id="9" name="Group 8">
            <a:extLst>
              <a:ext uri="{FF2B5EF4-FFF2-40B4-BE49-F238E27FC236}">
                <a16:creationId xmlns="" xmlns:a16="http://schemas.microsoft.com/office/drawing/2014/main" id="{0C1A2706-6813-9B47-8037-FCC431CED18E}"/>
              </a:ext>
            </a:extLst>
          </p:cNvPr>
          <p:cNvGrpSpPr/>
          <p:nvPr/>
        </p:nvGrpSpPr>
        <p:grpSpPr>
          <a:xfrm>
            <a:off x="4364831" y="24000"/>
            <a:ext cx="1683094" cy="1500000"/>
            <a:chOff x="7132320" y="228600"/>
            <a:chExt cx="1800000" cy="1800000"/>
          </a:xfrm>
        </p:grpSpPr>
        <p:sp>
          <p:nvSpPr>
            <p:cNvPr id="8" name="Hexagon 7">
              <a:extLst>
                <a:ext uri="{FF2B5EF4-FFF2-40B4-BE49-F238E27FC236}">
                  <a16:creationId xmlns="" xmlns:a16="http://schemas.microsoft.com/office/drawing/2014/main" id="{3AC9B2CE-F5A3-7646-8741-CC2FCFDF4B83}"/>
                </a:ext>
              </a:extLst>
            </p:cNvPr>
            <p:cNvSpPr/>
            <p:nvPr/>
          </p:nvSpPr>
          <p:spPr>
            <a:xfrm>
              <a:off x="7132320" y="228600"/>
              <a:ext cx="1800000" cy="1800000"/>
            </a:xfrm>
            <a:prstGeom prst="hexag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sp>
          <p:nvSpPr>
            <p:cNvPr id="26" name="Hexagon 25">
              <a:extLst>
                <a:ext uri="{FF2B5EF4-FFF2-40B4-BE49-F238E27FC236}">
                  <a16:creationId xmlns="" xmlns:a16="http://schemas.microsoft.com/office/drawing/2014/main" id="{E65B0D35-D4C8-4B46-8F42-0B605CC47A17}"/>
                </a:ext>
              </a:extLst>
            </p:cNvPr>
            <p:cNvSpPr/>
            <p:nvPr/>
          </p:nvSpPr>
          <p:spPr>
            <a:xfrm>
              <a:off x="7315200" y="408600"/>
              <a:ext cx="1440000" cy="1440000"/>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grpSp>
      <p:grpSp>
        <p:nvGrpSpPr>
          <p:cNvPr id="29" name="Group 28">
            <a:extLst>
              <a:ext uri="{FF2B5EF4-FFF2-40B4-BE49-F238E27FC236}">
                <a16:creationId xmlns="" xmlns:a16="http://schemas.microsoft.com/office/drawing/2014/main" id="{07B3ED3B-B276-4048-85DD-88E89C746C4B}"/>
              </a:ext>
            </a:extLst>
          </p:cNvPr>
          <p:cNvGrpSpPr/>
          <p:nvPr/>
        </p:nvGrpSpPr>
        <p:grpSpPr>
          <a:xfrm>
            <a:off x="4353374" y="1548000"/>
            <a:ext cx="1683094" cy="1500000"/>
            <a:chOff x="7132320" y="228600"/>
            <a:chExt cx="1800000" cy="1800000"/>
          </a:xfrm>
        </p:grpSpPr>
        <p:sp>
          <p:nvSpPr>
            <p:cNvPr id="33" name="Hexagon 32">
              <a:extLst>
                <a:ext uri="{FF2B5EF4-FFF2-40B4-BE49-F238E27FC236}">
                  <a16:creationId xmlns="" xmlns:a16="http://schemas.microsoft.com/office/drawing/2014/main" id="{8C29994C-3DCA-024B-BDFA-51063CE7788E}"/>
                </a:ext>
              </a:extLst>
            </p:cNvPr>
            <p:cNvSpPr/>
            <p:nvPr/>
          </p:nvSpPr>
          <p:spPr>
            <a:xfrm>
              <a:off x="7132320" y="228600"/>
              <a:ext cx="1800000" cy="1800000"/>
            </a:xfrm>
            <a:prstGeom prst="hexagon">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sp>
          <p:nvSpPr>
            <p:cNvPr id="36" name="Hexagon 35">
              <a:extLst>
                <a:ext uri="{FF2B5EF4-FFF2-40B4-BE49-F238E27FC236}">
                  <a16:creationId xmlns="" xmlns:a16="http://schemas.microsoft.com/office/drawing/2014/main" id="{8DAEA359-9BF0-A643-A9C4-E32EB0376CA0}"/>
                </a:ext>
              </a:extLst>
            </p:cNvPr>
            <p:cNvSpPr/>
            <p:nvPr/>
          </p:nvSpPr>
          <p:spPr>
            <a:xfrm>
              <a:off x="7315200" y="408600"/>
              <a:ext cx="1440000" cy="1440000"/>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grpSp>
      <p:grpSp>
        <p:nvGrpSpPr>
          <p:cNvPr id="37" name="Group 36">
            <a:extLst>
              <a:ext uri="{FF2B5EF4-FFF2-40B4-BE49-F238E27FC236}">
                <a16:creationId xmlns="" xmlns:a16="http://schemas.microsoft.com/office/drawing/2014/main" id="{FFB64940-7408-E447-B737-C319B95AD151}"/>
              </a:ext>
            </a:extLst>
          </p:cNvPr>
          <p:cNvGrpSpPr/>
          <p:nvPr/>
        </p:nvGrpSpPr>
        <p:grpSpPr>
          <a:xfrm>
            <a:off x="4353374" y="3057900"/>
            <a:ext cx="1683094" cy="1500000"/>
            <a:chOff x="7132320" y="228600"/>
            <a:chExt cx="1800000" cy="1800000"/>
          </a:xfrm>
        </p:grpSpPr>
        <p:sp>
          <p:nvSpPr>
            <p:cNvPr id="38" name="Hexagon 37">
              <a:extLst>
                <a:ext uri="{FF2B5EF4-FFF2-40B4-BE49-F238E27FC236}">
                  <a16:creationId xmlns="" xmlns:a16="http://schemas.microsoft.com/office/drawing/2014/main" id="{46670CCB-E3FE-9344-A66E-39E5F0587982}"/>
                </a:ext>
              </a:extLst>
            </p:cNvPr>
            <p:cNvSpPr/>
            <p:nvPr/>
          </p:nvSpPr>
          <p:spPr>
            <a:xfrm>
              <a:off x="7132320" y="228600"/>
              <a:ext cx="1800000" cy="1800000"/>
            </a:xfrm>
            <a:prstGeom prst="hexagon">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sp>
          <p:nvSpPr>
            <p:cNvPr id="39" name="Hexagon 38">
              <a:extLst>
                <a:ext uri="{FF2B5EF4-FFF2-40B4-BE49-F238E27FC236}">
                  <a16:creationId xmlns="" xmlns:a16="http://schemas.microsoft.com/office/drawing/2014/main" id="{0FF1F1C3-90AB-3D41-BD95-8DD0D6CD3205}"/>
                </a:ext>
              </a:extLst>
            </p:cNvPr>
            <p:cNvSpPr/>
            <p:nvPr/>
          </p:nvSpPr>
          <p:spPr>
            <a:xfrm>
              <a:off x="7315200" y="408600"/>
              <a:ext cx="1440000" cy="1440000"/>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grpSp>
      <p:grpSp>
        <p:nvGrpSpPr>
          <p:cNvPr id="40" name="Group 39">
            <a:extLst>
              <a:ext uri="{FF2B5EF4-FFF2-40B4-BE49-F238E27FC236}">
                <a16:creationId xmlns="" xmlns:a16="http://schemas.microsoft.com/office/drawing/2014/main" id="{8E528EDB-6B27-9C47-BF13-239FC5F02F20}"/>
              </a:ext>
            </a:extLst>
          </p:cNvPr>
          <p:cNvGrpSpPr/>
          <p:nvPr/>
        </p:nvGrpSpPr>
        <p:grpSpPr>
          <a:xfrm>
            <a:off x="4353374" y="4593900"/>
            <a:ext cx="1683094" cy="1500000"/>
            <a:chOff x="7132320" y="228600"/>
            <a:chExt cx="1800000" cy="1800000"/>
          </a:xfrm>
        </p:grpSpPr>
        <p:sp>
          <p:nvSpPr>
            <p:cNvPr id="41" name="Hexagon 40">
              <a:extLst>
                <a:ext uri="{FF2B5EF4-FFF2-40B4-BE49-F238E27FC236}">
                  <a16:creationId xmlns="" xmlns:a16="http://schemas.microsoft.com/office/drawing/2014/main" id="{20B24CAE-0E5F-1542-89E4-50A7F4C80C7D}"/>
                </a:ext>
              </a:extLst>
            </p:cNvPr>
            <p:cNvSpPr/>
            <p:nvPr/>
          </p:nvSpPr>
          <p:spPr>
            <a:xfrm>
              <a:off x="7132320" y="228600"/>
              <a:ext cx="1800000" cy="1800000"/>
            </a:xfrm>
            <a:prstGeom prst="hexag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sp>
          <p:nvSpPr>
            <p:cNvPr id="42" name="Hexagon 41">
              <a:extLst>
                <a:ext uri="{FF2B5EF4-FFF2-40B4-BE49-F238E27FC236}">
                  <a16:creationId xmlns="" xmlns:a16="http://schemas.microsoft.com/office/drawing/2014/main" id="{24F5B7DB-4527-9748-A12E-0A9193A4C578}"/>
                </a:ext>
              </a:extLst>
            </p:cNvPr>
            <p:cNvSpPr/>
            <p:nvPr/>
          </p:nvSpPr>
          <p:spPr>
            <a:xfrm>
              <a:off x="7315200" y="408600"/>
              <a:ext cx="1440000" cy="1440000"/>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grpSp>
      <p:grpSp>
        <p:nvGrpSpPr>
          <p:cNvPr id="43" name="Group 42">
            <a:extLst>
              <a:ext uri="{FF2B5EF4-FFF2-40B4-BE49-F238E27FC236}">
                <a16:creationId xmlns="" xmlns:a16="http://schemas.microsoft.com/office/drawing/2014/main" id="{749FC5EA-42A9-6845-B603-EBC814A477EE}"/>
              </a:ext>
            </a:extLst>
          </p:cNvPr>
          <p:cNvGrpSpPr/>
          <p:nvPr/>
        </p:nvGrpSpPr>
        <p:grpSpPr>
          <a:xfrm>
            <a:off x="5765905" y="786000"/>
            <a:ext cx="1683094" cy="1500000"/>
            <a:chOff x="7132320" y="228600"/>
            <a:chExt cx="1800000" cy="1800000"/>
          </a:xfrm>
        </p:grpSpPr>
        <p:sp>
          <p:nvSpPr>
            <p:cNvPr id="44" name="Hexagon 43">
              <a:extLst>
                <a:ext uri="{FF2B5EF4-FFF2-40B4-BE49-F238E27FC236}">
                  <a16:creationId xmlns="" xmlns:a16="http://schemas.microsoft.com/office/drawing/2014/main" id="{EE671F15-E324-F34F-AF54-8435FD474297}"/>
                </a:ext>
              </a:extLst>
            </p:cNvPr>
            <p:cNvSpPr/>
            <p:nvPr/>
          </p:nvSpPr>
          <p:spPr>
            <a:xfrm>
              <a:off x="7132320" y="228600"/>
              <a:ext cx="1800000" cy="1800000"/>
            </a:xfrm>
            <a:prstGeom prst="hexagon">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sp>
          <p:nvSpPr>
            <p:cNvPr id="45" name="Hexagon 44">
              <a:extLst>
                <a:ext uri="{FF2B5EF4-FFF2-40B4-BE49-F238E27FC236}">
                  <a16:creationId xmlns="" xmlns:a16="http://schemas.microsoft.com/office/drawing/2014/main" id="{CDE306D7-1317-CF4E-93BC-A886C5365467}"/>
                </a:ext>
              </a:extLst>
            </p:cNvPr>
            <p:cNvSpPr/>
            <p:nvPr/>
          </p:nvSpPr>
          <p:spPr>
            <a:xfrm>
              <a:off x="7315200" y="408600"/>
              <a:ext cx="1440000" cy="1440000"/>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grpSp>
      <p:grpSp>
        <p:nvGrpSpPr>
          <p:cNvPr id="46" name="Group 45">
            <a:extLst>
              <a:ext uri="{FF2B5EF4-FFF2-40B4-BE49-F238E27FC236}">
                <a16:creationId xmlns="" xmlns:a16="http://schemas.microsoft.com/office/drawing/2014/main" id="{666FB5AD-AD2E-C64E-A282-A66EDC62FD53}"/>
              </a:ext>
            </a:extLst>
          </p:cNvPr>
          <p:cNvGrpSpPr/>
          <p:nvPr/>
        </p:nvGrpSpPr>
        <p:grpSpPr>
          <a:xfrm>
            <a:off x="5765905" y="2310000"/>
            <a:ext cx="1683094" cy="1500000"/>
            <a:chOff x="7132320" y="228600"/>
            <a:chExt cx="1800000" cy="1800000"/>
          </a:xfrm>
        </p:grpSpPr>
        <p:sp>
          <p:nvSpPr>
            <p:cNvPr id="47" name="Hexagon 46">
              <a:extLst>
                <a:ext uri="{FF2B5EF4-FFF2-40B4-BE49-F238E27FC236}">
                  <a16:creationId xmlns="" xmlns:a16="http://schemas.microsoft.com/office/drawing/2014/main" id="{CA478BAA-6716-DA44-BD46-9FC3A8DBF12E}"/>
                </a:ext>
              </a:extLst>
            </p:cNvPr>
            <p:cNvSpPr/>
            <p:nvPr/>
          </p:nvSpPr>
          <p:spPr>
            <a:xfrm>
              <a:off x="7132320" y="228600"/>
              <a:ext cx="1800000" cy="1800000"/>
            </a:xfrm>
            <a:prstGeom prst="hexag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sp>
          <p:nvSpPr>
            <p:cNvPr id="48" name="Hexagon 47">
              <a:extLst>
                <a:ext uri="{FF2B5EF4-FFF2-40B4-BE49-F238E27FC236}">
                  <a16:creationId xmlns="" xmlns:a16="http://schemas.microsoft.com/office/drawing/2014/main" id="{AAEE20C0-13DD-CE45-B0A7-F6428568EA3F}"/>
                </a:ext>
              </a:extLst>
            </p:cNvPr>
            <p:cNvSpPr/>
            <p:nvPr/>
          </p:nvSpPr>
          <p:spPr>
            <a:xfrm>
              <a:off x="7315200" y="408600"/>
              <a:ext cx="1440000" cy="1440000"/>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grpSp>
      <p:grpSp>
        <p:nvGrpSpPr>
          <p:cNvPr id="49" name="Group 48">
            <a:extLst>
              <a:ext uri="{FF2B5EF4-FFF2-40B4-BE49-F238E27FC236}">
                <a16:creationId xmlns="" xmlns:a16="http://schemas.microsoft.com/office/drawing/2014/main" id="{0D927ABC-A88C-834F-9832-7EA6A2B146E4}"/>
              </a:ext>
            </a:extLst>
          </p:cNvPr>
          <p:cNvGrpSpPr/>
          <p:nvPr/>
        </p:nvGrpSpPr>
        <p:grpSpPr>
          <a:xfrm>
            <a:off x="5746405" y="3843900"/>
            <a:ext cx="1683094" cy="1500000"/>
            <a:chOff x="7132320" y="228600"/>
            <a:chExt cx="1800000" cy="1800000"/>
          </a:xfrm>
        </p:grpSpPr>
        <p:sp>
          <p:nvSpPr>
            <p:cNvPr id="50" name="Hexagon 49">
              <a:extLst>
                <a:ext uri="{FF2B5EF4-FFF2-40B4-BE49-F238E27FC236}">
                  <a16:creationId xmlns="" xmlns:a16="http://schemas.microsoft.com/office/drawing/2014/main" id="{7739296F-5D88-D040-A0B7-D373BF389B6F}"/>
                </a:ext>
              </a:extLst>
            </p:cNvPr>
            <p:cNvSpPr/>
            <p:nvPr/>
          </p:nvSpPr>
          <p:spPr>
            <a:xfrm>
              <a:off x="7132320" y="228600"/>
              <a:ext cx="1800000" cy="1800000"/>
            </a:xfrm>
            <a:prstGeom prst="hexagon">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sp>
          <p:nvSpPr>
            <p:cNvPr id="51" name="Hexagon 50">
              <a:extLst>
                <a:ext uri="{FF2B5EF4-FFF2-40B4-BE49-F238E27FC236}">
                  <a16:creationId xmlns="" xmlns:a16="http://schemas.microsoft.com/office/drawing/2014/main" id="{54CEF426-E492-064E-96A2-E35EA5B737B4}"/>
                </a:ext>
              </a:extLst>
            </p:cNvPr>
            <p:cNvSpPr/>
            <p:nvPr/>
          </p:nvSpPr>
          <p:spPr>
            <a:xfrm>
              <a:off x="7315200" y="408600"/>
              <a:ext cx="1440000" cy="1440000"/>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grpSp>
      <p:sp>
        <p:nvSpPr>
          <p:cNvPr id="27" name="Rectangle 26">
            <a:extLst>
              <a:ext uri="{FF2B5EF4-FFF2-40B4-BE49-F238E27FC236}">
                <a16:creationId xmlns="" xmlns:a16="http://schemas.microsoft.com/office/drawing/2014/main" id="{ADF69546-0178-0E46-B03B-2D2488B9EAE1}"/>
              </a:ext>
            </a:extLst>
          </p:cNvPr>
          <p:cNvSpPr/>
          <p:nvPr/>
        </p:nvSpPr>
        <p:spPr>
          <a:xfrm>
            <a:off x="2693193" y="174000"/>
            <a:ext cx="2085526" cy="120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48" tIns="33524" rIns="67048" bIns="33524" numCol="1" spcCol="0" rtlCol="0" fromWordArt="0" anchor="ctr" anchorCtr="0" forceAA="0" compatLnSpc="1">
            <a:prstTxWarp prst="textNoShape">
              <a:avLst/>
            </a:prstTxWarp>
            <a:noAutofit/>
          </a:bodyPr>
          <a:lstStyle/>
          <a:p>
            <a:pPr algn="r" defTabSz="804577" eaLnBrk="1" fontAlgn="auto" hangingPunct="1">
              <a:spcBef>
                <a:spcPts val="0"/>
              </a:spcBef>
              <a:spcAft>
                <a:spcPts val="0"/>
              </a:spcAft>
            </a:pPr>
            <a:r>
              <a:rPr lang="ko-KR" altLang="en-US" sz="1200" dirty="0" smtClean="0">
                <a:solidFill>
                  <a:srgbClr val="000E5E"/>
                </a:solidFill>
                <a:latin typeface="IBM Plex Sans" panose="020B0503050203000203" pitchFamily="34" charset="77"/>
              </a:rPr>
              <a:t>지갑관</a:t>
            </a:r>
            <a:r>
              <a:rPr lang="ko-KR" altLang="en-US" sz="1200" dirty="0">
                <a:solidFill>
                  <a:srgbClr val="000E5E"/>
                </a:solidFill>
                <a:latin typeface="IBM Plex Sans" panose="020B0503050203000203" pitchFamily="34" charset="77"/>
              </a:rPr>
              <a:t>리</a:t>
            </a:r>
            <a:endParaRPr lang="en-US" sz="1200" dirty="0">
              <a:solidFill>
                <a:srgbClr val="000E5E"/>
              </a:solidFill>
              <a:latin typeface="IBM Plex Sans" panose="020B0503050203000203" pitchFamily="34" charset="77"/>
            </a:endParaRPr>
          </a:p>
          <a:p>
            <a:pPr algn="r" defTabSz="804577" eaLnBrk="1" fontAlgn="auto" hangingPunct="1">
              <a:spcBef>
                <a:spcPts val="0"/>
              </a:spcBef>
              <a:spcAft>
                <a:spcPts val="0"/>
              </a:spcAft>
            </a:pPr>
            <a:r>
              <a:rPr lang="ko-KR" altLang="en-US" b="0" dirty="0" smtClean="0">
                <a:solidFill>
                  <a:srgbClr val="000E5E"/>
                </a:solidFill>
                <a:latin typeface="IBM Plex Sans" panose="020B0503050203000203" pitchFamily="34" charset="77"/>
              </a:rPr>
              <a:t>사용자 지갑 생성</a:t>
            </a:r>
            <a:endParaRPr lang="en-US" altLang="ko-KR" b="0" dirty="0" smtClean="0">
              <a:solidFill>
                <a:srgbClr val="000E5E"/>
              </a:solidFill>
              <a:latin typeface="IBM Plex Sans" panose="020B0503050203000203" pitchFamily="34" charset="77"/>
            </a:endParaRPr>
          </a:p>
          <a:p>
            <a:pPr algn="r" defTabSz="804577" eaLnBrk="1" fontAlgn="auto" hangingPunct="1">
              <a:spcBef>
                <a:spcPts val="0"/>
              </a:spcBef>
              <a:spcAft>
                <a:spcPts val="0"/>
              </a:spcAft>
            </a:pPr>
            <a:r>
              <a:rPr lang="en-US" b="0" dirty="0" smtClean="0">
                <a:solidFill>
                  <a:srgbClr val="000E5E"/>
                </a:solidFill>
                <a:latin typeface="IBM Plex Sans" panose="020B0503050203000203" pitchFamily="34" charset="77"/>
              </a:rPr>
              <a:t>DAO </a:t>
            </a:r>
            <a:r>
              <a:rPr lang="ko-KR" altLang="en-US" b="0" dirty="0" smtClean="0">
                <a:solidFill>
                  <a:srgbClr val="000E5E"/>
                </a:solidFill>
                <a:latin typeface="IBM Plex Sans" panose="020B0503050203000203" pitchFamily="34" charset="77"/>
              </a:rPr>
              <a:t>및 </a:t>
            </a:r>
            <a:r>
              <a:rPr lang="en-US" altLang="ko-KR" b="0" dirty="0" err="1" smtClean="0">
                <a:solidFill>
                  <a:srgbClr val="000E5E"/>
                </a:solidFill>
                <a:latin typeface="IBM Plex Sans" panose="020B0503050203000203" pitchFamily="34" charset="77"/>
              </a:rPr>
              <a:t>SubDAO</a:t>
            </a:r>
            <a:r>
              <a:rPr lang="en-US" altLang="ko-KR" b="0" dirty="0" smtClean="0">
                <a:solidFill>
                  <a:srgbClr val="000E5E"/>
                </a:solidFill>
                <a:latin typeface="IBM Plex Sans" panose="020B0503050203000203" pitchFamily="34" charset="77"/>
              </a:rPr>
              <a:t> </a:t>
            </a:r>
            <a:r>
              <a:rPr lang="ko-KR" altLang="en-US" b="0" dirty="0" smtClean="0">
                <a:solidFill>
                  <a:srgbClr val="000E5E"/>
                </a:solidFill>
                <a:latin typeface="IBM Plex Sans" panose="020B0503050203000203" pitchFamily="34" charset="77"/>
              </a:rPr>
              <a:t>지갑</a:t>
            </a:r>
            <a:r>
              <a:rPr lang="en-US" b="0" dirty="0" smtClean="0">
                <a:solidFill>
                  <a:srgbClr val="000E5E"/>
                </a:solidFill>
                <a:latin typeface="IBM Plex Sans" panose="020B0503050203000203" pitchFamily="34" charset="77"/>
              </a:rPr>
              <a:t> </a:t>
            </a:r>
            <a:endParaRPr lang="en-US" dirty="0">
              <a:solidFill>
                <a:srgbClr val="000E5E"/>
              </a:solidFill>
              <a:latin typeface="IBM Plex Sans" panose="020B0503050203000203" pitchFamily="34" charset="77"/>
            </a:endParaRPr>
          </a:p>
        </p:txBody>
      </p:sp>
      <p:sp>
        <p:nvSpPr>
          <p:cNvPr id="31" name="Rectangle 30">
            <a:extLst>
              <a:ext uri="{FF2B5EF4-FFF2-40B4-BE49-F238E27FC236}">
                <a16:creationId xmlns="" xmlns:a16="http://schemas.microsoft.com/office/drawing/2014/main" id="{32A93440-9EBF-BF4D-90D8-713A5AF0AAE6}"/>
              </a:ext>
            </a:extLst>
          </p:cNvPr>
          <p:cNvSpPr/>
          <p:nvPr/>
        </p:nvSpPr>
        <p:spPr>
          <a:xfrm>
            <a:off x="2685284" y="1695900"/>
            <a:ext cx="2085526" cy="120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48" tIns="33524" rIns="67048" bIns="33524" numCol="1" spcCol="0" rtlCol="0" fromWordArt="0" anchor="ctr" anchorCtr="0" forceAA="0" compatLnSpc="1">
            <a:prstTxWarp prst="textNoShape">
              <a:avLst/>
            </a:prstTxWarp>
            <a:noAutofit/>
          </a:bodyPr>
          <a:lstStyle/>
          <a:p>
            <a:pPr algn="r" defTabSz="804577" eaLnBrk="1" fontAlgn="auto" hangingPunct="1">
              <a:spcBef>
                <a:spcPts val="0"/>
              </a:spcBef>
              <a:spcAft>
                <a:spcPts val="0"/>
              </a:spcAft>
            </a:pPr>
            <a:r>
              <a:rPr lang="en-US" sz="1200" dirty="0" err="1" smtClean="0">
                <a:solidFill>
                  <a:srgbClr val="000000"/>
                </a:solidFill>
                <a:latin typeface="IBM Plex Sans" panose="020B0503050203000203" pitchFamily="34" charset="77"/>
              </a:rPr>
              <a:t>Metaverse</a:t>
            </a:r>
            <a:r>
              <a:rPr lang="en-US" sz="1200" dirty="0" smtClean="0">
                <a:solidFill>
                  <a:srgbClr val="000000"/>
                </a:solidFill>
                <a:latin typeface="IBM Plex Sans" panose="020B0503050203000203" pitchFamily="34" charset="77"/>
              </a:rPr>
              <a:t> NFT </a:t>
            </a:r>
            <a:r>
              <a:rPr lang="ko-KR" altLang="en-US" sz="1200" dirty="0" smtClean="0">
                <a:solidFill>
                  <a:srgbClr val="000000"/>
                </a:solidFill>
                <a:latin typeface="IBM Plex Sans" panose="020B0503050203000203" pitchFamily="34" charset="77"/>
              </a:rPr>
              <a:t>거래 지원</a:t>
            </a:r>
            <a:endParaRPr lang="en-US" sz="1200" dirty="0">
              <a:solidFill>
                <a:srgbClr val="000000"/>
              </a:solidFill>
              <a:latin typeface="IBM Plex Sans" panose="020B0503050203000203" pitchFamily="34" charset="77"/>
            </a:endParaRPr>
          </a:p>
          <a:p>
            <a:pPr algn="r" defTabSz="804577" eaLnBrk="1" fontAlgn="auto" hangingPunct="1">
              <a:spcBef>
                <a:spcPts val="0"/>
              </a:spcBef>
              <a:spcAft>
                <a:spcPts val="0"/>
              </a:spcAft>
            </a:pPr>
            <a:r>
              <a:rPr lang="ko-KR" altLang="en-US" b="0" dirty="0" err="1" smtClean="0">
                <a:solidFill>
                  <a:srgbClr val="000000"/>
                </a:solidFill>
                <a:latin typeface="IBM Plex Sans" panose="020B0503050203000203" pitchFamily="34" charset="77"/>
              </a:rPr>
              <a:t>블라블</a:t>
            </a:r>
            <a:r>
              <a:rPr lang="ko-KR" altLang="en-US" b="0" dirty="0" err="1">
                <a:solidFill>
                  <a:srgbClr val="000000"/>
                </a:solidFill>
                <a:latin typeface="IBM Plex Sans" panose="020B0503050203000203" pitchFamily="34" charset="77"/>
              </a:rPr>
              <a:t>라</a:t>
            </a:r>
            <a:endParaRPr lang="en-US" dirty="0">
              <a:solidFill>
                <a:srgbClr val="000000"/>
              </a:solidFill>
              <a:latin typeface="IBM Plex Sans" panose="020B0503050203000203" pitchFamily="34" charset="77"/>
            </a:endParaRPr>
          </a:p>
        </p:txBody>
      </p:sp>
      <p:sp>
        <p:nvSpPr>
          <p:cNvPr id="32" name="Rectangle 31">
            <a:extLst>
              <a:ext uri="{FF2B5EF4-FFF2-40B4-BE49-F238E27FC236}">
                <a16:creationId xmlns="" xmlns:a16="http://schemas.microsoft.com/office/drawing/2014/main" id="{E8BE021B-B331-6441-804F-D9588220A86F}"/>
              </a:ext>
            </a:extLst>
          </p:cNvPr>
          <p:cNvSpPr/>
          <p:nvPr/>
        </p:nvSpPr>
        <p:spPr>
          <a:xfrm>
            <a:off x="2681736" y="3207900"/>
            <a:ext cx="2085526" cy="120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48" tIns="33524" rIns="67048" bIns="33524"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sp>
        <p:nvSpPr>
          <p:cNvPr id="35" name="Rectangle 34">
            <a:extLst>
              <a:ext uri="{FF2B5EF4-FFF2-40B4-BE49-F238E27FC236}">
                <a16:creationId xmlns="" xmlns:a16="http://schemas.microsoft.com/office/drawing/2014/main" id="{6EDA6972-4216-7049-97BB-474BA3B9CED2}"/>
              </a:ext>
            </a:extLst>
          </p:cNvPr>
          <p:cNvSpPr/>
          <p:nvPr/>
        </p:nvSpPr>
        <p:spPr>
          <a:xfrm>
            <a:off x="7046568" y="939462"/>
            <a:ext cx="2085526" cy="120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48" tIns="33524" rIns="67048" bIns="33524" numCol="1" spcCol="0" rtlCol="0" fromWordArt="0" anchor="ctr" anchorCtr="0" forceAA="0" compatLnSpc="1">
            <a:prstTxWarp prst="textNoShape">
              <a:avLst/>
            </a:prstTxWarp>
            <a:noAutofit/>
          </a:bodyPr>
          <a:lstStyle/>
          <a:p>
            <a:pPr defTabSz="804577" eaLnBrk="1" fontAlgn="auto" hangingPunct="1">
              <a:spcBef>
                <a:spcPts val="0"/>
              </a:spcBef>
              <a:spcAft>
                <a:spcPts val="0"/>
              </a:spcAft>
            </a:pPr>
            <a:r>
              <a:rPr lang="ko-KR" altLang="en-US" sz="1200" dirty="0" err="1" smtClean="0">
                <a:solidFill>
                  <a:srgbClr val="DB2663">
                    <a:lumMod val="50000"/>
                  </a:srgbClr>
                </a:solidFill>
                <a:latin typeface="IBM Plex Sans" panose="020B0503050203000203" pitchFamily="34" charset="77"/>
              </a:rPr>
              <a:t>깐부</a:t>
            </a:r>
            <a:r>
              <a:rPr lang="en-US" altLang="ko-KR" sz="1200" dirty="0" smtClean="0">
                <a:solidFill>
                  <a:srgbClr val="DB2663">
                    <a:lumMod val="50000"/>
                  </a:srgbClr>
                </a:solidFill>
                <a:latin typeface="IBM Plex Sans" panose="020B0503050203000203" pitchFamily="34" charset="77"/>
              </a:rPr>
              <a:t>(</a:t>
            </a:r>
            <a:r>
              <a:rPr lang="ko-KR" altLang="en-US" sz="1200" dirty="0" smtClean="0">
                <a:solidFill>
                  <a:srgbClr val="DB2663">
                    <a:lumMod val="50000"/>
                  </a:srgbClr>
                </a:solidFill>
                <a:latin typeface="IBM Plex Sans" panose="020B0503050203000203" pitchFamily="34" charset="77"/>
              </a:rPr>
              <a:t>공동명의</a:t>
            </a:r>
            <a:r>
              <a:rPr lang="en-US" altLang="ko-KR" sz="1200" dirty="0" smtClean="0">
                <a:solidFill>
                  <a:srgbClr val="DB2663">
                    <a:lumMod val="50000"/>
                  </a:srgbClr>
                </a:solidFill>
                <a:latin typeface="IBM Plex Sans" panose="020B0503050203000203" pitchFamily="34" charset="77"/>
              </a:rPr>
              <a:t>)</a:t>
            </a:r>
            <a:r>
              <a:rPr lang="en-US" sz="1200" dirty="0" smtClean="0">
                <a:solidFill>
                  <a:srgbClr val="DB2663">
                    <a:lumMod val="50000"/>
                  </a:srgbClr>
                </a:solidFill>
                <a:latin typeface="IBM Plex Sans" panose="020B0503050203000203" pitchFamily="34" charset="77"/>
              </a:rPr>
              <a:t> NFT </a:t>
            </a:r>
            <a:r>
              <a:rPr lang="ko-KR" altLang="en-US" sz="1200" dirty="0" smtClean="0">
                <a:solidFill>
                  <a:srgbClr val="DB2663">
                    <a:lumMod val="50000"/>
                  </a:srgbClr>
                </a:solidFill>
                <a:latin typeface="IBM Plex Sans" panose="020B0503050203000203" pitchFamily="34" charset="77"/>
              </a:rPr>
              <a:t>구매</a:t>
            </a:r>
          </a:p>
          <a:p>
            <a:pPr defTabSz="804577" eaLnBrk="1" fontAlgn="auto" hangingPunct="1">
              <a:spcBef>
                <a:spcPts val="0"/>
              </a:spcBef>
              <a:spcAft>
                <a:spcPts val="0"/>
              </a:spcAft>
            </a:pPr>
            <a:r>
              <a:rPr lang="ko-KR" altLang="en-US" dirty="0" err="1" smtClean="0">
                <a:solidFill>
                  <a:srgbClr val="DB2663">
                    <a:lumMod val="50000"/>
                  </a:srgbClr>
                </a:solidFill>
                <a:latin typeface="IBM Plex Sans" panose="020B0503050203000203" pitchFamily="34" charset="77"/>
              </a:rPr>
              <a:t>블라블라</a:t>
            </a:r>
            <a:endParaRPr lang="en-US" dirty="0">
              <a:solidFill>
                <a:srgbClr val="DB2663">
                  <a:lumMod val="50000"/>
                </a:srgbClr>
              </a:solidFill>
              <a:latin typeface="IBM Plex Sans" panose="020B0503050203000203" pitchFamily="34" charset="77"/>
            </a:endParaRPr>
          </a:p>
        </p:txBody>
      </p:sp>
      <p:sp>
        <p:nvSpPr>
          <p:cNvPr id="52" name="Rectangle 51">
            <a:extLst>
              <a:ext uri="{FF2B5EF4-FFF2-40B4-BE49-F238E27FC236}">
                <a16:creationId xmlns="" xmlns:a16="http://schemas.microsoft.com/office/drawing/2014/main" id="{407CBB6F-0B01-F94B-8061-DE8742C6669D}"/>
              </a:ext>
            </a:extLst>
          </p:cNvPr>
          <p:cNvSpPr/>
          <p:nvPr/>
        </p:nvSpPr>
        <p:spPr>
          <a:xfrm>
            <a:off x="2680030" y="3207900"/>
            <a:ext cx="2085526" cy="120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48" tIns="33524" rIns="67048" bIns="33524" numCol="1" spcCol="0" rtlCol="0" fromWordArt="0" anchor="ctr" anchorCtr="0" forceAA="0" compatLnSpc="1">
            <a:prstTxWarp prst="textNoShape">
              <a:avLst/>
            </a:prstTxWarp>
            <a:noAutofit/>
          </a:bodyPr>
          <a:lstStyle/>
          <a:p>
            <a:pPr algn="r" defTabSz="804577" eaLnBrk="1" fontAlgn="auto" hangingPunct="1">
              <a:spcBef>
                <a:spcPts val="0"/>
              </a:spcBef>
              <a:spcAft>
                <a:spcPts val="0"/>
              </a:spcAft>
            </a:pPr>
            <a:endParaRPr lang="en-US" sz="1200" dirty="0" smtClean="0">
              <a:solidFill>
                <a:srgbClr val="DB2663">
                  <a:lumMod val="50000"/>
                </a:srgbClr>
              </a:solidFill>
              <a:latin typeface="IBM Plex Sans" panose="020B0503050203000203" pitchFamily="34" charset="77"/>
            </a:endParaRPr>
          </a:p>
          <a:p>
            <a:pPr algn="r" defTabSz="804577" eaLnBrk="1" fontAlgn="auto" hangingPunct="1">
              <a:spcBef>
                <a:spcPts val="0"/>
              </a:spcBef>
              <a:spcAft>
                <a:spcPts val="0"/>
              </a:spcAft>
            </a:pPr>
            <a:r>
              <a:rPr lang="ko-KR" altLang="en-US" dirty="0" smtClean="0">
                <a:solidFill>
                  <a:srgbClr val="DB2663">
                    <a:lumMod val="50000"/>
                  </a:srgbClr>
                </a:solidFill>
                <a:latin typeface="IBM Plex Sans" panose="020B0503050203000203" pitchFamily="34" charset="77"/>
              </a:rPr>
              <a:t>공동명</a:t>
            </a:r>
            <a:r>
              <a:rPr lang="ko-KR" altLang="en-US" dirty="0">
                <a:solidFill>
                  <a:srgbClr val="DB2663">
                    <a:lumMod val="50000"/>
                  </a:srgbClr>
                </a:solidFill>
                <a:latin typeface="IBM Plex Sans" panose="020B0503050203000203" pitchFamily="34" charset="77"/>
              </a:rPr>
              <a:t>의</a:t>
            </a:r>
            <a:r>
              <a:rPr lang="ko-KR" altLang="en-US" dirty="0" smtClean="0">
                <a:solidFill>
                  <a:srgbClr val="DB2663">
                    <a:lumMod val="50000"/>
                  </a:srgbClr>
                </a:solidFill>
                <a:latin typeface="IBM Plex Sans" panose="020B0503050203000203" pitchFamily="34" charset="77"/>
              </a:rPr>
              <a:t> </a:t>
            </a:r>
            <a:r>
              <a:rPr lang="en-US" altLang="ko-KR" dirty="0" smtClean="0">
                <a:solidFill>
                  <a:srgbClr val="DB2663">
                    <a:lumMod val="50000"/>
                  </a:srgbClr>
                </a:solidFill>
                <a:latin typeface="IBM Plex Sans" panose="020B0503050203000203" pitchFamily="34" charset="77"/>
              </a:rPr>
              <a:t>NFT </a:t>
            </a:r>
            <a:r>
              <a:rPr lang="ko-KR" altLang="en-US" dirty="0" smtClean="0">
                <a:solidFill>
                  <a:srgbClr val="DB2663">
                    <a:lumMod val="50000"/>
                  </a:srgbClr>
                </a:solidFill>
                <a:latin typeface="IBM Plex Sans" panose="020B0503050203000203" pitchFamily="34" charset="77"/>
              </a:rPr>
              <a:t>효율 극대화</a:t>
            </a:r>
            <a:endParaRPr lang="en-US" altLang="ko-KR" dirty="0" smtClean="0">
              <a:solidFill>
                <a:srgbClr val="DB2663">
                  <a:lumMod val="50000"/>
                </a:srgbClr>
              </a:solidFill>
              <a:latin typeface="IBM Plex Sans" panose="020B0503050203000203" pitchFamily="34" charset="77"/>
            </a:endParaRPr>
          </a:p>
          <a:p>
            <a:pPr algn="r" defTabSz="804577" eaLnBrk="1" fontAlgn="auto" hangingPunct="1">
              <a:spcBef>
                <a:spcPts val="0"/>
              </a:spcBef>
              <a:spcAft>
                <a:spcPts val="0"/>
              </a:spcAft>
            </a:pPr>
            <a:r>
              <a:rPr lang="ko-KR" altLang="en-US" b="0" dirty="0" smtClean="0">
                <a:solidFill>
                  <a:srgbClr val="DB2663">
                    <a:lumMod val="50000"/>
                  </a:srgbClr>
                </a:solidFill>
                <a:latin typeface="IBM Plex Sans" panose="020B0503050203000203" pitchFamily="34" charset="77"/>
              </a:rPr>
              <a:t>체계적인 명의 관리</a:t>
            </a:r>
            <a:r>
              <a:rPr lang="en-US" altLang="ko-KR" b="0" dirty="0" smtClean="0">
                <a:solidFill>
                  <a:srgbClr val="DB2663">
                    <a:lumMod val="50000"/>
                  </a:srgbClr>
                </a:solidFill>
                <a:latin typeface="IBM Plex Sans" panose="020B0503050203000203" pitchFamily="34" charset="77"/>
              </a:rPr>
              <a:t>, NFT </a:t>
            </a:r>
            <a:r>
              <a:rPr lang="ko-KR" altLang="en-US" b="0" dirty="0" smtClean="0">
                <a:solidFill>
                  <a:srgbClr val="DB2663">
                    <a:lumMod val="50000"/>
                  </a:srgbClr>
                </a:solidFill>
                <a:latin typeface="IBM Plex Sans" panose="020B0503050203000203" pitchFamily="34" charset="77"/>
              </a:rPr>
              <a:t>매도</a:t>
            </a:r>
            <a:r>
              <a:rPr lang="en-US" altLang="ko-KR" b="0" dirty="0" smtClean="0">
                <a:solidFill>
                  <a:srgbClr val="DB2663">
                    <a:lumMod val="50000"/>
                  </a:srgbClr>
                </a:solidFill>
                <a:latin typeface="IBM Plex Sans" panose="020B0503050203000203" pitchFamily="34" charset="77"/>
              </a:rPr>
              <a:t>, </a:t>
            </a:r>
            <a:r>
              <a:rPr lang="ko-KR" altLang="en-US" b="0" dirty="0" err="1" smtClean="0">
                <a:solidFill>
                  <a:srgbClr val="DB2663">
                    <a:lumMod val="50000"/>
                  </a:srgbClr>
                </a:solidFill>
                <a:latin typeface="IBM Plex Sans" panose="020B0503050203000203" pitchFamily="34" charset="77"/>
              </a:rPr>
              <a:t>블라블라</a:t>
            </a:r>
            <a:endParaRPr lang="en-US" dirty="0">
              <a:solidFill>
                <a:srgbClr val="DB2663">
                  <a:lumMod val="50000"/>
                </a:srgbClr>
              </a:solidFill>
              <a:latin typeface="IBM Plex Sans" panose="020B0503050203000203" pitchFamily="34" charset="77"/>
            </a:endParaRPr>
          </a:p>
        </p:txBody>
      </p:sp>
      <p:sp>
        <p:nvSpPr>
          <p:cNvPr id="53" name="Rectangle 52">
            <a:extLst>
              <a:ext uri="{FF2B5EF4-FFF2-40B4-BE49-F238E27FC236}">
                <a16:creationId xmlns="" xmlns:a16="http://schemas.microsoft.com/office/drawing/2014/main" id="{FBCA505B-7E48-F347-B3DE-16722C91BAB1}"/>
              </a:ext>
            </a:extLst>
          </p:cNvPr>
          <p:cNvSpPr/>
          <p:nvPr/>
        </p:nvSpPr>
        <p:spPr>
          <a:xfrm>
            <a:off x="7046568" y="2460000"/>
            <a:ext cx="2085526" cy="120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48" tIns="33524" rIns="67048" bIns="33524" numCol="1" spcCol="0" rtlCol="0" fromWordArt="0" anchor="ctr" anchorCtr="0" forceAA="0" compatLnSpc="1">
            <a:prstTxWarp prst="textNoShape">
              <a:avLst/>
            </a:prstTxWarp>
            <a:noAutofit/>
          </a:bodyPr>
          <a:lstStyle/>
          <a:p>
            <a:pPr defTabSz="804577" eaLnBrk="1" fontAlgn="auto" hangingPunct="1">
              <a:spcBef>
                <a:spcPts val="0"/>
              </a:spcBef>
              <a:spcAft>
                <a:spcPts val="0"/>
              </a:spcAft>
            </a:pPr>
            <a:r>
              <a:rPr lang="ko-KR" altLang="en-US" sz="1200" dirty="0" smtClean="0">
                <a:solidFill>
                  <a:srgbClr val="000E5E"/>
                </a:solidFill>
                <a:latin typeface="IBM Plex Sans" panose="020B0503050203000203" pitchFamily="34" charset="77"/>
              </a:rPr>
              <a:t>큰 </a:t>
            </a:r>
            <a:r>
              <a:rPr lang="ko-KR" altLang="en-US" sz="1200" dirty="0" err="1" smtClean="0">
                <a:solidFill>
                  <a:srgbClr val="000E5E"/>
                </a:solidFill>
                <a:latin typeface="IBM Plex Sans" panose="020B0503050203000203" pitchFamily="34" charset="77"/>
              </a:rPr>
              <a:t>깐부</a:t>
            </a:r>
            <a:r>
              <a:rPr lang="en-US" altLang="ko-KR" sz="1200" dirty="0" smtClean="0">
                <a:solidFill>
                  <a:srgbClr val="000E5E"/>
                </a:solidFill>
                <a:latin typeface="IBM Plex Sans" panose="020B0503050203000203" pitchFamily="34" charset="77"/>
              </a:rPr>
              <a:t>(</a:t>
            </a:r>
            <a:r>
              <a:rPr lang="en-US" altLang="ko-KR" sz="1200" dirty="0" err="1" smtClean="0">
                <a:solidFill>
                  <a:srgbClr val="000E5E"/>
                </a:solidFill>
                <a:latin typeface="IBM Plex Sans" panose="020B0503050203000203" pitchFamily="34" charset="77"/>
              </a:rPr>
              <a:t>SubDAO</a:t>
            </a:r>
            <a:r>
              <a:rPr lang="en-US" altLang="ko-KR" sz="1200" dirty="0" smtClean="0">
                <a:solidFill>
                  <a:srgbClr val="000E5E"/>
                </a:solidFill>
                <a:latin typeface="IBM Plex Sans" panose="020B0503050203000203" pitchFamily="34" charset="77"/>
              </a:rPr>
              <a:t>, DAO)</a:t>
            </a:r>
            <a:endParaRPr lang="en-US" sz="1200" dirty="0">
              <a:solidFill>
                <a:srgbClr val="000E5E"/>
              </a:solidFill>
              <a:latin typeface="IBM Plex Sans" panose="020B0503050203000203" pitchFamily="34" charset="77"/>
            </a:endParaRPr>
          </a:p>
          <a:p>
            <a:pPr defTabSz="804577" eaLnBrk="1" fontAlgn="auto" hangingPunct="1">
              <a:spcBef>
                <a:spcPts val="0"/>
              </a:spcBef>
              <a:spcAft>
                <a:spcPts val="0"/>
              </a:spcAft>
            </a:pPr>
            <a:r>
              <a:rPr lang="ko-KR" altLang="en-US" b="0" dirty="0" err="1" smtClean="0">
                <a:solidFill>
                  <a:srgbClr val="000E5E"/>
                </a:solidFill>
                <a:latin typeface="IBM Plex Sans" panose="020B0503050203000203" pitchFamily="34" charset="77"/>
              </a:rPr>
              <a:t>블라블</a:t>
            </a:r>
            <a:r>
              <a:rPr lang="ko-KR" altLang="en-US" b="0" dirty="0" err="1">
                <a:solidFill>
                  <a:srgbClr val="000E5E"/>
                </a:solidFill>
                <a:latin typeface="IBM Plex Sans" panose="020B0503050203000203" pitchFamily="34" charset="77"/>
              </a:rPr>
              <a:t>라</a:t>
            </a:r>
            <a:endParaRPr lang="en-US" dirty="0">
              <a:solidFill>
                <a:srgbClr val="000E5E"/>
              </a:solidFill>
              <a:latin typeface="IBM Plex Sans" panose="020B0503050203000203" pitchFamily="34" charset="77"/>
            </a:endParaRPr>
          </a:p>
        </p:txBody>
      </p:sp>
      <p:sp>
        <p:nvSpPr>
          <p:cNvPr id="54" name="Rectangle 53">
            <a:extLst>
              <a:ext uri="{FF2B5EF4-FFF2-40B4-BE49-F238E27FC236}">
                <a16:creationId xmlns="" xmlns:a16="http://schemas.microsoft.com/office/drawing/2014/main" id="{B3CDE463-0FEA-D446-BA33-E98DE2CE86D6}"/>
              </a:ext>
            </a:extLst>
          </p:cNvPr>
          <p:cNvSpPr/>
          <p:nvPr/>
        </p:nvSpPr>
        <p:spPr>
          <a:xfrm>
            <a:off x="7024688" y="3993900"/>
            <a:ext cx="2085526" cy="120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48" tIns="33524" rIns="67048" bIns="33524" numCol="1" spcCol="0" rtlCol="0" fromWordArt="0" anchor="ctr" anchorCtr="0" forceAA="0" compatLnSpc="1">
            <a:prstTxWarp prst="textNoShape">
              <a:avLst/>
            </a:prstTxWarp>
            <a:noAutofit/>
          </a:bodyPr>
          <a:lstStyle/>
          <a:p>
            <a:pPr defTabSz="804577" eaLnBrk="1" fontAlgn="auto" hangingPunct="1">
              <a:spcBef>
                <a:spcPts val="0"/>
              </a:spcBef>
              <a:spcAft>
                <a:spcPts val="0"/>
              </a:spcAft>
            </a:pPr>
            <a:r>
              <a:rPr lang="en-US" sz="1200" dirty="0" smtClean="0">
                <a:solidFill>
                  <a:srgbClr val="000000"/>
                </a:solidFill>
                <a:latin typeface="IBM Plex Sans" panose="020B0503050203000203" pitchFamily="34" charset="77"/>
              </a:rPr>
              <a:t>NFT </a:t>
            </a:r>
            <a:r>
              <a:rPr lang="ko-KR" altLang="en-US" sz="1200" dirty="0" smtClean="0">
                <a:solidFill>
                  <a:srgbClr val="000000"/>
                </a:solidFill>
                <a:latin typeface="IBM Plex Sans" panose="020B0503050203000203" pitchFamily="34" charset="77"/>
              </a:rPr>
              <a:t>담보 </a:t>
            </a:r>
            <a:r>
              <a:rPr lang="en-US" altLang="ko-KR" sz="1200" dirty="0" smtClean="0">
                <a:solidFill>
                  <a:srgbClr val="000000"/>
                </a:solidFill>
                <a:latin typeface="IBM Plex Sans" panose="020B0503050203000203" pitchFamily="34" charset="77"/>
              </a:rPr>
              <a:t>/ </a:t>
            </a:r>
            <a:r>
              <a:rPr lang="ko-KR" altLang="en-US" sz="1200" dirty="0" err="1" smtClean="0">
                <a:solidFill>
                  <a:srgbClr val="000000"/>
                </a:solidFill>
                <a:latin typeface="IBM Plex Sans" panose="020B0503050203000203" pitchFamily="34" charset="77"/>
              </a:rPr>
              <a:t>스테이킹</a:t>
            </a:r>
            <a:endParaRPr lang="en-US" sz="1200" dirty="0">
              <a:solidFill>
                <a:srgbClr val="000000"/>
              </a:solidFill>
              <a:latin typeface="IBM Plex Sans" panose="020B0503050203000203" pitchFamily="34" charset="77"/>
            </a:endParaRPr>
          </a:p>
          <a:p>
            <a:pPr defTabSz="804577" eaLnBrk="1" fontAlgn="auto" hangingPunct="1">
              <a:spcBef>
                <a:spcPts val="0"/>
              </a:spcBef>
              <a:spcAft>
                <a:spcPts val="0"/>
              </a:spcAft>
            </a:pPr>
            <a:r>
              <a:rPr lang="ko-KR" altLang="en-US" dirty="0" err="1" smtClean="0">
                <a:solidFill>
                  <a:srgbClr val="000000"/>
                </a:solidFill>
                <a:latin typeface="IBM Plex Sans" panose="020B0503050203000203" pitchFamily="34" charset="77"/>
              </a:rPr>
              <a:t>블라블라</a:t>
            </a:r>
            <a:endParaRPr lang="en-US" dirty="0">
              <a:solidFill>
                <a:srgbClr val="000000"/>
              </a:solidFill>
              <a:latin typeface="IBM Plex Sans" panose="020B0503050203000203" pitchFamily="34" charset="77"/>
            </a:endParaRPr>
          </a:p>
        </p:txBody>
      </p:sp>
      <p:sp>
        <p:nvSpPr>
          <p:cNvPr id="55" name="Rectangle 54">
            <a:extLst>
              <a:ext uri="{FF2B5EF4-FFF2-40B4-BE49-F238E27FC236}">
                <a16:creationId xmlns="" xmlns:a16="http://schemas.microsoft.com/office/drawing/2014/main" id="{1383B126-1024-7443-933E-7877A2764556}"/>
              </a:ext>
            </a:extLst>
          </p:cNvPr>
          <p:cNvSpPr/>
          <p:nvPr/>
        </p:nvSpPr>
        <p:spPr>
          <a:xfrm>
            <a:off x="2681736" y="4746000"/>
            <a:ext cx="2085526" cy="120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48" tIns="33524" rIns="67048" bIns="33524" numCol="1" spcCol="0" rtlCol="0" fromWordArt="0" anchor="ctr" anchorCtr="0" forceAA="0" compatLnSpc="1">
            <a:prstTxWarp prst="textNoShape">
              <a:avLst/>
            </a:prstTxWarp>
            <a:noAutofit/>
          </a:bodyPr>
          <a:lstStyle/>
          <a:p>
            <a:pPr algn="r" defTabSz="804577" eaLnBrk="1" fontAlgn="auto" hangingPunct="1">
              <a:spcBef>
                <a:spcPts val="0"/>
              </a:spcBef>
              <a:spcAft>
                <a:spcPts val="0"/>
              </a:spcAft>
            </a:pPr>
            <a:r>
              <a:rPr lang="en-US" sz="1200" dirty="0" smtClean="0">
                <a:solidFill>
                  <a:srgbClr val="000E5E"/>
                </a:solidFill>
                <a:latin typeface="IBM Plex Sans" panose="020B0503050203000203" pitchFamily="34" charset="77"/>
              </a:rPr>
              <a:t>NFT </a:t>
            </a:r>
            <a:r>
              <a:rPr lang="ko-KR" altLang="en-US" sz="1200" dirty="0" smtClean="0">
                <a:solidFill>
                  <a:srgbClr val="000E5E"/>
                </a:solidFill>
                <a:latin typeface="IBM Plex Sans" panose="020B0503050203000203" pitchFamily="34" charset="77"/>
              </a:rPr>
              <a:t>대여</a:t>
            </a:r>
            <a:endParaRPr lang="en-US" sz="1200" dirty="0">
              <a:solidFill>
                <a:srgbClr val="000E5E"/>
              </a:solidFill>
              <a:latin typeface="IBM Plex Sans" panose="020B0503050203000203" pitchFamily="34" charset="77"/>
            </a:endParaRPr>
          </a:p>
          <a:p>
            <a:pPr algn="r" defTabSz="804577" eaLnBrk="1" fontAlgn="auto" hangingPunct="1">
              <a:spcBef>
                <a:spcPts val="0"/>
              </a:spcBef>
              <a:spcAft>
                <a:spcPts val="0"/>
              </a:spcAft>
            </a:pPr>
            <a:r>
              <a:rPr lang="ko-KR" altLang="en-US" dirty="0" err="1" smtClean="0">
                <a:solidFill>
                  <a:srgbClr val="000E5E"/>
                </a:solidFill>
                <a:latin typeface="IBM Plex Sans" panose="020B0503050203000203" pitchFamily="34" charset="77"/>
              </a:rPr>
              <a:t>블라벌라</a:t>
            </a:r>
            <a:endParaRPr lang="en-US" dirty="0">
              <a:solidFill>
                <a:srgbClr val="000E5E"/>
              </a:solidFill>
              <a:latin typeface="IBM Plex Sans" panose="020B0503050203000203" pitchFamily="34" charset="77"/>
            </a:endParaRPr>
          </a:p>
        </p:txBody>
      </p:sp>
      <p:grpSp>
        <p:nvGrpSpPr>
          <p:cNvPr id="56" name="Group 55">
            <a:extLst>
              <a:ext uri="{FF2B5EF4-FFF2-40B4-BE49-F238E27FC236}">
                <a16:creationId xmlns="" xmlns:a16="http://schemas.microsoft.com/office/drawing/2014/main" id="{AC29184B-D3C1-2B4B-99CE-04DFF217CF01}"/>
              </a:ext>
            </a:extLst>
          </p:cNvPr>
          <p:cNvGrpSpPr/>
          <p:nvPr/>
        </p:nvGrpSpPr>
        <p:grpSpPr>
          <a:xfrm>
            <a:off x="5746405" y="5358000"/>
            <a:ext cx="1683094" cy="1500000"/>
            <a:chOff x="7132320" y="228600"/>
            <a:chExt cx="1800000" cy="1800000"/>
          </a:xfrm>
        </p:grpSpPr>
        <p:sp>
          <p:nvSpPr>
            <p:cNvPr id="57" name="Hexagon 56">
              <a:extLst>
                <a:ext uri="{FF2B5EF4-FFF2-40B4-BE49-F238E27FC236}">
                  <a16:creationId xmlns="" xmlns:a16="http://schemas.microsoft.com/office/drawing/2014/main" id="{5D1266A6-443D-FD4D-8AA9-4F563C265722}"/>
                </a:ext>
              </a:extLst>
            </p:cNvPr>
            <p:cNvSpPr/>
            <p:nvPr/>
          </p:nvSpPr>
          <p:spPr>
            <a:xfrm>
              <a:off x="7132320" y="228600"/>
              <a:ext cx="1800000" cy="1800000"/>
            </a:xfrm>
            <a:prstGeom prst="hexagon">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sp>
          <p:nvSpPr>
            <p:cNvPr id="58" name="Hexagon 57">
              <a:extLst>
                <a:ext uri="{FF2B5EF4-FFF2-40B4-BE49-F238E27FC236}">
                  <a16:creationId xmlns="" xmlns:a16="http://schemas.microsoft.com/office/drawing/2014/main" id="{205467BD-EA5F-C14C-81FB-1A0025152A95}"/>
                </a:ext>
              </a:extLst>
            </p:cNvPr>
            <p:cNvSpPr/>
            <p:nvPr/>
          </p:nvSpPr>
          <p:spPr>
            <a:xfrm>
              <a:off x="7315200" y="408600"/>
              <a:ext cx="1440000" cy="1440000"/>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804577" eaLnBrk="1" fontAlgn="auto" hangingPunct="1">
                <a:spcBef>
                  <a:spcPts val="0"/>
                </a:spcBef>
                <a:spcAft>
                  <a:spcPts val="0"/>
                </a:spcAft>
              </a:pPr>
              <a:endParaRPr lang="en-US" b="0" dirty="0">
                <a:solidFill>
                  <a:srgbClr val="000E5E"/>
                </a:solidFill>
                <a:latin typeface="IBM Plex Sans" panose="020B0503050203000203" pitchFamily="34" charset="77"/>
              </a:endParaRPr>
            </a:p>
          </p:txBody>
        </p:sp>
      </p:grpSp>
      <p:pic>
        <p:nvPicPr>
          <p:cNvPr id="61" name="Picture 2" descr="Image result for strategy icon free icon">
            <a:extLst>
              <a:ext uri="{FF2B5EF4-FFF2-40B4-BE49-F238E27FC236}">
                <a16:creationId xmlns="" xmlns:a16="http://schemas.microsoft.com/office/drawing/2014/main" id="{D9A90845-FBB1-3B4B-9C12-062439D1CBF4}"/>
              </a:ext>
            </a:extLst>
          </p:cNvPr>
          <p:cNvPicPr>
            <a:picLocks noChangeAspect="1" noChangeArrowheads="1"/>
          </p:cNvPicPr>
          <p:nvPr/>
        </p:nvPicPr>
        <p:blipFill>
          <a:blip r:embed="rId3">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933653" y="350138"/>
            <a:ext cx="688777" cy="847725"/>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Image result for customer icon free">
            <a:extLst>
              <a:ext uri="{FF2B5EF4-FFF2-40B4-BE49-F238E27FC236}">
                <a16:creationId xmlns="" xmlns:a16="http://schemas.microsoft.com/office/drawing/2014/main" id="{58F89B4E-3A42-1042-808D-CD5716AFB585}"/>
              </a:ext>
            </a:extLst>
          </p:cNvPr>
          <p:cNvPicPr>
            <a:picLocks noChangeAspect="1" noChangeArrowheads="1"/>
          </p:cNvPicPr>
          <p:nvPr/>
        </p:nvPicPr>
        <p:blipFill>
          <a:blip r:embed="rId4">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83140" y="1172301"/>
            <a:ext cx="652952" cy="75139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innovation icon free">
            <a:extLst>
              <a:ext uri="{FF2B5EF4-FFF2-40B4-BE49-F238E27FC236}">
                <a16:creationId xmlns="" xmlns:a16="http://schemas.microsoft.com/office/drawing/2014/main" id="{53E9B1FC-4B50-E447-AAE4-4C09ADEA98C3}"/>
              </a:ext>
            </a:extLst>
          </p:cNvPr>
          <p:cNvPicPr>
            <a:picLocks noChangeAspect="1" noChangeArrowheads="1"/>
          </p:cNvPicPr>
          <p:nvPr/>
        </p:nvPicPr>
        <p:blipFill>
          <a:blip r:embed="rId5">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4969169" y="1825350"/>
            <a:ext cx="593125" cy="91980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a:extLst>
              <a:ext uri="{FF2B5EF4-FFF2-40B4-BE49-F238E27FC236}">
                <a16:creationId xmlns="" xmlns:a16="http://schemas.microsoft.com/office/drawing/2014/main" id="{6E54C0B0-5FEC-0547-9BE9-4B425C6F70A0}"/>
              </a:ext>
            </a:extLst>
          </p:cNvPr>
          <p:cNvPicPr>
            <a:picLocks noChangeAspect="1"/>
          </p:cNvPicPr>
          <p:nvPr/>
        </p:nvPicPr>
        <p:blipFill>
          <a:blip r:embed="rId6">
            <a:clrChange>
              <a:clrFrom>
                <a:srgbClr val="F7F7F7"/>
              </a:clrFrom>
              <a:clrTo>
                <a:srgbClr val="F7F7F7">
                  <a:alpha val="0"/>
                </a:srgbClr>
              </a:clrTo>
            </a:clrChange>
            <a:duotone>
              <a:srgbClr val="4472C4">
                <a:shade val="45000"/>
                <a:satMod val="135000"/>
              </a:srgbClr>
              <a:prstClr val="white"/>
            </a:duotone>
          </a:blip>
          <a:stretch>
            <a:fillRect/>
          </a:stretch>
        </p:blipFill>
        <p:spPr>
          <a:xfrm>
            <a:off x="6102526" y="2649814"/>
            <a:ext cx="971579" cy="816173"/>
          </a:xfrm>
          <a:prstGeom prst="rect">
            <a:avLst/>
          </a:prstGeom>
        </p:spPr>
      </p:pic>
      <p:pic>
        <p:nvPicPr>
          <p:cNvPr id="13" name="Picture 12" descr="A picture containing transport&#10;&#10;Description automatically generated">
            <a:extLst>
              <a:ext uri="{FF2B5EF4-FFF2-40B4-BE49-F238E27FC236}">
                <a16:creationId xmlns="" xmlns:a16="http://schemas.microsoft.com/office/drawing/2014/main" id="{F32724E1-1BBB-6248-884E-1D47D188D018}"/>
              </a:ext>
            </a:extLst>
          </p:cNvPr>
          <p:cNvPicPr>
            <a:picLocks noChangeAspect="1"/>
          </p:cNvPicPr>
          <p:nvPr/>
        </p:nvPicPr>
        <p:blipFill>
          <a:blip r:embed="rId7">
            <a:clrChange>
              <a:clrFrom>
                <a:srgbClr val="FFFFFF"/>
              </a:clrFrom>
              <a:clrTo>
                <a:srgbClr val="FFFFFF">
                  <a:alpha val="0"/>
                </a:srgbClr>
              </a:clrTo>
            </a:clrChange>
            <a:duotone>
              <a:schemeClr val="accent6">
                <a:shade val="45000"/>
                <a:satMod val="135000"/>
              </a:schemeClr>
              <a:prstClr val="white"/>
            </a:duotone>
          </a:blip>
          <a:stretch>
            <a:fillRect/>
          </a:stretch>
        </p:blipFill>
        <p:spPr>
          <a:xfrm>
            <a:off x="4858595" y="3308775"/>
            <a:ext cx="805552" cy="987450"/>
          </a:xfrm>
          <a:prstGeom prst="rect">
            <a:avLst/>
          </a:prstGeom>
        </p:spPr>
      </p:pic>
      <p:sp>
        <p:nvSpPr>
          <p:cNvPr id="64" name="Rectangle 63">
            <a:extLst>
              <a:ext uri="{FF2B5EF4-FFF2-40B4-BE49-F238E27FC236}">
                <a16:creationId xmlns="" xmlns:a16="http://schemas.microsoft.com/office/drawing/2014/main" id="{67BF1387-6B5F-6449-8425-A952C424D23C}"/>
              </a:ext>
            </a:extLst>
          </p:cNvPr>
          <p:cNvSpPr/>
          <p:nvPr/>
        </p:nvSpPr>
        <p:spPr>
          <a:xfrm>
            <a:off x="7015613" y="5508000"/>
            <a:ext cx="2085526" cy="120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048" tIns="33524" rIns="67048" bIns="33524" numCol="1" spcCol="0" rtlCol="0" fromWordArt="0" anchor="ctr" anchorCtr="0" forceAA="0" compatLnSpc="1">
            <a:prstTxWarp prst="textNoShape">
              <a:avLst/>
            </a:prstTxWarp>
            <a:noAutofit/>
          </a:bodyPr>
          <a:lstStyle/>
          <a:p>
            <a:pPr defTabSz="804577" eaLnBrk="1" fontAlgn="auto" hangingPunct="1">
              <a:spcBef>
                <a:spcPts val="0"/>
              </a:spcBef>
              <a:spcAft>
                <a:spcPts val="0"/>
              </a:spcAft>
            </a:pPr>
            <a:r>
              <a:rPr lang="en-US" sz="1200" dirty="0" smtClean="0">
                <a:solidFill>
                  <a:srgbClr val="DB2663">
                    <a:lumMod val="50000"/>
                  </a:srgbClr>
                </a:solidFill>
                <a:latin typeface="IBM Plex Sans" panose="020B0503050203000203" pitchFamily="34" charset="77"/>
              </a:rPr>
              <a:t>NFT </a:t>
            </a:r>
            <a:r>
              <a:rPr lang="ko-KR" altLang="en-US" sz="1200" dirty="0" smtClean="0">
                <a:solidFill>
                  <a:srgbClr val="DB2663">
                    <a:lumMod val="50000"/>
                  </a:srgbClr>
                </a:solidFill>
                <a:latin typeface="IBM Plex Sans" panose="020B0503050203000203" pitchFamily="34" charset="77"/>
              </a:rPr>
              <a:t>경제 생태계</a:t>
            </a:r>
            <a:endParaRPr lang="en-US" sz="1200" dirty="0">
              <a:solidFill>
                <a:srgbClr val="DB2663">
                  <a:lumMod val="50000"/>
                </a:srgbClr>
              </a:solidFill>
              <a:latin typeface="IBM Plex Sans" panose="020B0503050203000203" pitchFamily="34" charset="77"/>
            </a:endParaRPr>
          </a:p>
          <a:p>
            <a:pPr defTabSz="804577" eaLnBrk="1" fontAlgn="auto" hangingPunct="1">
              <a:spcBef>
                <a:spcPts val="0"/>
              </a:spcBef>
              <a:spcAft>
                <a:spcPts val="0"/>
              </a:spcAft>
            </a:pPr>
            <a:r>
              <a:rPr lang="ko-KR" altLang="en-US" b="0" dirty="0" err="1" smtClean="0">
                <a:solidFill>
                  <a:srgbClr val="DB2663">
                    <a:lumMod val="50000"/>
                  </a:srgbClr>
                </a:solidFill>
                <a:latin typeface="IBM Plex Sans" panose="020B0503050203000203" pitchFamily="34" charset="77"/>
              </a:rPr>
              <a:t>블라블</a:t>
            </a:r>
            <a:r>
              <a:rPr lang="ko-KR" altLang="en-US" b="0" dirty="0" err="1">
                <a:solidFill>
                  <a:srgbClr val="DB2663">
                    <a:lumMod val="50000"/>
                  </a:srgbClr>
                </a:solidFill>
                <a:latin typeface="IBM Plex Sans" panose="020B0503050203000203" pitchFamily="34" charset="77"/>
              </a:rPr>
              <a:t>라</a:t>
            </a:r>
            <a:endParaRPr lang="en-US" b="0" dirty="0">
              <a:solidFill>
                <a:srgbClr val="DB2663">
                  <a:lumMod val="50000"/>
                </a:srgbClr>
              </a:solidFill>
              <a:latin typeface="IBM Plex Sans" panose="020B0503050203000203" pitchFamily="34" charset="77"/>
            </a:endParaRPr>
          </a:p>
        </p:txBody>
      </p:sp>
      <p:pic>
        <p:nvPicPr>
          <p:cNvPr id="66" name="Picture 18" descr="Image result for dollar sign icon">
            <a:extLst>
              <a:ext uri="{FF2B5EF4-FFF2-40B4-BE49-F238E27FC236}">
                <a16:creationId xmlns="" xmlns:a16="http://schemas.microsoft.com/office/drawing/2014/main" id="{BB7DF3E7-3016-F44C-A401-1857DEFF25AB}"/>
              </a:ext>
            </a:extLst>
          </p:cNvPr>
          <p:cNvPicPr>
            <a:picLocks noChangeAspect="1" noChangeArrowheads="1"/>
          </p:cNvPicPr>
          <p:nvPr/>
        </p:nvPicPr>
        <p:blipFill>
          <a:blip r:embed="rId8">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41610" y="4104988"/>
            <a:ext cx="794483" cy="97782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0" descr="Image result for performance icon">
            <a:extLst>
              <a:ext uri="{FF2B5EF4-FFF2-40B4-BE49-F238E27FC236}">
                <a16:creationId xmlns="" xmlns:a16="http://schemas.microsoft.com/office/drawing/2014/main" id="{36AE0E6B-86C9-BE45-A174-C01CA48C583D}"/>
              </a:ext>
            </a:extLst>
          </p:cNvPr>
          <p:cNvPicPr>
            <a:picLocks noChangeAspect="1" noChangeArrowheads="1"/>
          </p:cNvPicPr>
          <p:nvPr/>
        </p:nvPicPr>
        <p:blipFill>
          <a:blip r:embed="rId9">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872403" y="4962859"/>
            <a:ext cx="642105" cy="790283"/>
          </a:xfrm>
          <a:prstGeom prst="rect">
            <a:avLst/>
          </a:prstGeom>
          <a:noFill/>
          <a:extLst>
            <a:ext uri="{909E8E84-426E-40DD-AFC4-6F175D3DCCD1}">
              <a14:hiddenFill xmlns:a14="http://schemas.microsoft.com/office/drawing/2010/main">
                <a:solidFill>
                  <a:srgbClr val="FFFFFF"/>
                </a:solidFill>
              </a14:hiddenFill>
            </a:ext>
          </a:extLst>
        </p:spPr>
      </p:pic>
      <p:pic>
        <p:nvPicPr>
          <p:cNvPr id="4118" name="Picture 22" descr="Image result for regulation icon">
            <a:extLst>
              <a:ext uri="{FF2B5EF4-FFF2-40B4-BE49-F238E27FC236}">
                <a16:creationId xmlns="" xmlns:a16="http://schemas.microsoft.com/office/drawing/2014/main" id="{E37DA8F3-5A45-5540-AC14-C2F652A7E92D}"/>
              </a:ext>
            </a:extLst>
          </p:cNvPr>
          <p:cNvPicPr>
            <a:picLocks noChangeAspect="1" noChangeArrowheads="1"/>
          </p:cNvPicPr>
          <p:nvPr/>
        </p:nvPicPr>
        <p:blipFill>
          <a:blip r:embed="rId10">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60294" y="5624304"/>
            <a:ext cx="763095" cy="939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1980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3"/>
          <p:cNvSpPr>
            <a:spLocks noChangeArrowheads="1"/>
          </p:cNvSpPr>
          <p:nvPr/>
        </p:nvSpPr>
        <p:spPr bwMode="auto">
          <a:xfrm>
            <a:off x="296863" y="157163"/>
            <a:ext cx="11160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p>
            <a:pPr latinLnBrk="1"/>
            <a:r>
              <a:rPr lang="en-US" altLang="ko-KR" dirty="0" smtClean="0">
                <a:solidFill>
                  <a:schemeClr val="tx2"/>
                </a:solidFill>
                <a:latin typeface="맑은 고딕" pitchFamily="50" charset="-127"/>
              </a:rPr>
              <a:t>3. </a:t>
            </a:r>
            <a:r>
              <a:rPr lang="ko-KR" altLang="en-US" dirty="0" smtClean="0">
                <a:solidFill>
                  <a:schemeClr val="tx2"/>
                </a:solidFill>
                <a:latin typeface="맑은 고딕" pitchFamily="50" charset="-127"/>
              </a:rPr>
              <a:t>아키텍처</a:t>
            </a:r>
            <a:endParaRPr lang="en-US" altLang="ko-KR" dirty="0">
              <a:solidFill>
                <a:schemeClr val="tx2"/>
              </a:solidFill>
              <a:latin typeface="맑은 고딕" pitchFamily="50" charset="-127"/>
            </a:endParaRPr>
          </a:p>
        </p:txBody>
      </p:sp>
      <p:cxnSp>
        <p:nvCxnSpPr>
          <p:cNvPr id="348" name="Straight Connector 2"/>
          <p:cNvCxnSpPr>
            <a:cxnSpLocks noChangeShapeType="1"/>
          </p:cNvCxnSpPr>
          <p:nvPr/>
        </p:nvCxnSpPr>
        <p:spPr bwMode="auto">
          <a:xfrm>
            <a:off x="6278880" y="1922463"/>
            <a:ext cx="3158808" cy="0"/>
          </a:xfrm>
          <a:prstGeom prst="line">
            <a:avLst/>
          </a:prstGeom>
          <a:noFill/>
          <a:ln w="9525" algn="ctr">
            <a:solidFill>
              <a:schemeClr val="bg1">
                <a:lumMod val="50000"/>
              </a:schemeClr>
            </a:solidFill>
            <a:round/>
            <a:headEnd/>
            <a:tailEnd/>
          </a:ln>
        </p:spPr>
      </p:cxnSp>
      <p:sp>
        <p:nvSpPr>
          <p:cNvPr id="349" name="Rectangle 2"/>
          <p:cNvSpPr txBox="1">
            <a:spLocks noChangeArrowheads="1"/>
          </p:cNvSpPr>
          <p:nvPr/>
        </p:nvSpPr>
        <p:spPr bwMode="auto">
          <a:xfrm>
            <a:off x="296863" y="457200"/>
            <a:ext cx="92741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애플리케이션 </a:t>
            </a:r>
            <a:r>
              <a:rPr lang="en-US" altLang="ko-KR" sz="1800" b="0" kern="0" dirty="0" smtClean="0">
                <a:latin typeface="맑은 고딕" panose="020B0503020000020004" pitchFamily="50" charset="-127"/>
              </a:rPr>
              <a:t>diagram</a:t>
            </a:r>
            <a:endParaRPr lang="ko-KR" altLang="en-US" sz="1800" b="0" kern="0" dirty="0">
              <a:latin typeface="맑은 고딕" panose="020B0503020000020004" pitchFamily="50" charset="-127"/>
            </a:endParaRPr>
          </a:p>
        </p:txBody>
      </p:sp>
      <p:sp>
        <p:nvSpPr>
          <p:cNvPr id="21514" name="TextBox 1"/>
          <p:cNvSpPr txBox="1">
            <a:spLocks noChangeArrowheads="1"/>
          </p:cNvSpPr>
          <p:nvPr/>
        </p:nvSpPr>
        <p:spPr bwMode="auto">
          <a:xfrm>
            <a:off x="7224443" y="1614686"/>
            <a:ext cx="10182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b="1">
                <a:solidFill>
                  <a:srgbClr val="000000"/>
                </a:solidFill>
                <a:latin typeface="Arial" pitchFamily="34" charset="0"/>
                <a:ea typeface="맑은 고딕" pitchFamily="50" charset="-127"/>
              </a:defRPr>
            </a:lvl1pPr>
            <a:lvl2pPr marL="742950" indent="-285750">
              <a:defRPr sz="1400" b="1">
                <a:solidFill>
                  <a:srgbClr val="000000"/>
                </a:solidFill>
                <a:latin typeface="Arial" pitchFamily="34" charset="0"/>
                <a:ea typeface="맑은 고딕" pitchFamily="50" charset="-127"/>
              </a:defRPr>
            </a:lvl2pPr>
            <a:lvl3pPr marL="1143000" indent="-228600">
              <a:defRPr sz="1400" b="1">
                <a:solidFill>
                  <a:srgbClr val="000000"/>
                </a:solidFill>
                <a:latin typeface="Arial" pitchFamily="34" charset="0"/>
                <a:ea typeface="맑은 고딕" pitchFamily="50" charset="-127"/>
              </a:defRPr>
            </a:lvl3pPr>
            <a:lvl4pPr marL="1600200" indent="-228600">
              <a:defRPr sz="1400" b="1">
                <a:solidFill>
                  <a:srgbClr val="000000"/>
                </a:solidFill>
                <a:latin typeface="Arial" pitchFamily="34" charset="0"/>
                <a:ea typeface="맑은 고딕" pitchFamily="50" charset="-127"/>
              </a:defRPr>
            </a:lvl4pPr>
            <a:lvl5pPr marL="2057400" indent="-228600">
              <a:defRPr sz="1400" b="1">
                <a:solidFill>
                  <a:srgbClr val="000000"/>
                </a:solidFill>
                <a:latin typeface="Arial" pitchFamily="34" charset="0"/>
                <a:ea typeface="맑은 고딕" pitchFamily="50" charset="-127"/>
              </a:defRPr>
            </a:lvl5pPr>
            <a:lvl6pPr marL="2514600" indent="-228600"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pPr algn="ctr"/>
            <a:r>
              <a:rPr lang="en-US" altLang="ko-KR" dirty="0" smtClean="0"/>
              <a:t>Front-end</a:t>
            </a:r>
            <a:endParaRPr lang="ko-KR" altLang="en-US" dirty="0"/>
          </a:p>
        </p:txBody>
      </p:sp>
      <p:cxnSp>
        <p:nvCxnSpPr>
          <p:cNvPr id="21520" name="Straight Arrow Connector 332"/>
          <p:cNvCxnSpPr>
            <a:cxnSpLocks noChangeShapeType="1"/>
          </p:cNvCxnSpPr>
          <p:nvPr/>
        </p:nvCxnSpPr>
        <p:spPr bwMode="auto">
          <a:xfrm>
            <a:off x="2683568" y="2567266"/>
            <a:ext cx="1197180" cy="0"/>
          </a:xfrm>
          <a:prstGeom prst="straightConnector1">
            <a:avLst/>
          </a:prstGeom>
          <a:noFill/>
          <a:ln w="12700" algn="ctr">
            <a:solidFill>
              <a:srgbClr val="000066"/>
            </a:solidFill>
            <a:prstDash val="sysDash"/>
            <a:round/>
            <a:headEnd/>
            <a:tailEnd type="triangle" w="med" len="med"/>
          </a:ln>
          <a:extLst>
            <a:ext uri="{909E8E84-426E-40DD-AFC4-6F175D3DCCD1}">
              <a14:hiddenFill xmlns:a14="http://schemas.microsoft.com/office/drawing/2010/main">
                <a:noFill/>
              </a14:hiddenFill>
            </a:ext>
          </a:extLst>
        </p:spPr>
      </p:cxnSp>
      <p:cxnSp>
        <p:nvCxnSpPr>
          <p:cNvPr id="51" name="Straight Connector 2"/>
          <p:cNvCxnSpPr>
            <a:cxnSpLocks noChangeShapeType="1"/>
          </p:cNvCxnSpPr>
          <p:nvPr/>
        </p:nvCxnSpPr>
        <p:spPr bwMode="auto">
          <a:xfrm>
            <a:off x="479425" y="1922463"/>
            <a:ext cx="2406575" cy="0"/>
          </a:xfrm>
          <a:prstGeom prst="line">
            <a:avLst/>
          </a:prstGeom>
          <a:noFill/>
          <a:ln w="9525" algn="ctr">
            <a:solidFill>
              <a:schemeClr val="bg1">
                <a:lumMod val="50000"/>
              </a:schemeClr>
            </a:solidFill>
            <a:round/>
            <a:headEnd/>
            <a:tailEnd/>
          </a:ln>
        </p:spPr>
      </p:cxnSp>
      <p:sp>
        <p:nvSpPr>
          <p:cNvPr id="21526" name="TextBox 1"/>
          <p:cNvSpPr txBox="1">
            <a:spLocks noChangeArrowheads="1"/>
          </p:cNvSpPr>
          <p:nvPr/>
        </p:nvSpPr>
        <p:spPr bwMode="auto">
          <a:xfrm>
            <a:off x="592030" y="1614488"/>
            <a:ext cx="20114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rgbClr val="000000"/>
                </a:solidFill>
                <a:latin typeface="Arial" pitchFamily="34" charset="0"/>
                <a:ea typeface="맑은 고딕" pitchFamily="50" charset="-127"/>
              </a:defRPr>
            </a:lvl1pPr>
            <a:lvl2pPr marL="742950" indent="-285750">
              <a:defRPr sz="1400" b="1">
                <a:solidFill>
                  <a:srgbClr val="000000"/>
                </a:solidFill>
                <a:latin typeface="Arial" pitchFamily="34" charset="0"/>
                <a:ea typeface="맑은 고딕" pitchFamily="50" charset="-127"/>
              </a:defRPr>
            </a:lvl2pPr>
            <a:lvl3pPr marL="1143000" indent="-228600">
              <a:defRPr sz="1400" b="1">
                <a:solidFill>
                  <a:srgbClr val="000000"/>
                </a:solidFill>
                <a:latin typeface="Arial" pitchFamily="34" charset="0"/>
                <a:ea typeface="맑은 고딕" pitchFamily="50" charset="-127"/>
              </a:defRPr>
            </a:lvl3pPr>
            <a:lvl4pPr marL="1600200" indent="-228600">
              <a:defRPr sz="1400" b="1">
                <a:solidFill>
                  <a:srgbClr val="000000"/>
                </a:solidFill>
                <a:latin typeface="Arial" pitchFamily="34" charset="0"/>
                <a:ea typeface="맑은 고딕" pitchFamily="50" charset="-127"/>
              </a:defRPr>
            </a:lvl4pPr>
            <a:lvl5pPr marL="2057400" indent="-228600">
              <a:defRPr sz="1400" b="1">
                <a:solidFill>
                  <a:srgbClr val="000000"/>
                </a:solidFill>
                <a:latin typeface="Arial" pitchFamily="34" charset="0"/>
                <a:ea typeface="맑은 고딕" pitchFamily="50" charset="-127"/>
              </a:defRPr>
            </a:lvl5pPr>
            <a:lvl6pPr marL="2514600" indent="-228600"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pPr algn="ctr"/>
            <a:r>
              <a:rPr lang="en-US" altLang="ko-KR" dirty="0" err="1" smtClean="0"/>
              <a:t>Blockchain</a:t>
            </a:r>
            <a:endParaRPr lang="ko-KR" altLang="en-US" dirty="0"/>
          </a:p>
        </p:txBody>
      </p:sp>
      <p:cxnSp>
        <p:nvCxnSpPr>
          <p:cNvPr id="40" name="Straight Connector 2"/>
          <p:cNvCxnSpPr>
            <a:cxnSpLocks noChangeShapeType="1"/>
          </p:cNvCxnSpPr>
          <p:nvPr/>
        </p:nvCxnSpPr>
        <p:spPr bwMode="auto">
          <a:xfrm>
            <a:off x="3078480" y="1922859"/>
            <a:ext cx="2486251" cy="0"/>
          </a:xfrm>
          <a:prstGeom prst="line">
            <a:avLst/>
          </a:prstGeom>
          <a:noFill/>
          <a:ln w="9525" algn="ctr">
            <a:solidFill>
              <a:schemeClr val="bg1">
                <a:lumMod val="50000"/>
              </a:schemeClr>
            </a:solidFill>
            <a:round/>
            <a:headEnd/>
            <a:tailEnd/>
          </a:ln>
        </p:spPr>
      </p:cxnSp>
      <p:sp>
        <p:nvSpPr>
          <p:cNvPr id="41" name="TextBox 1"/>
          <p:cNvSpPr txBox="1">
            <a:spLocks noChangeArrowheads="1"/>
          </p:cNvSpPr>
          <p:nvPr/>
        </p:nvSpPr>
        <p:spPr bwMode="auto">
          <a:xfrm>
            <a:off x="2987040" y="1614884"/>
            <a:ext cx="211359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rgbClr val="000000"/>
                </a:solidFill>
                <a:latin typeface="Arial" pitchFamily="34" charset="0"/>
                <a:ea typeface="맑은 고딕" pitchFamily="50" charset="-127"/>
              </a:defRPr>
            </a:lvl1pPr>
            <a:lvl2pPr marL="742950" indent="-285750">
              <a:defRPr sz="1400" b="1">
                <a:solidFill>
                  <a:srgbClr val="000000"/>
                </a:solidFill>
                <a:latin typeface="Arial" pitchFamily="34" charset="0"/>
                <a:ea typeface="맑은 고딕" pitchFamily="50" charset="-127"/>
              </a:defRPr>
            </a:lvl2pPr>
            <a:lvl3pPr marL="1143000" indent="-228600">
              <a:defRPr sz="1400" b="1">
                <a:solidFill>
                  <a:srgbClr val="000000"/>
                </a:solidFill>
                <a:latin typeface="Arial" pitchFamily="34" charset="0"/>
                <a:ea typeface="맑은 고딕" pitchFamily="50" charset="-127"/>
              </a:defRPr>
            </a:lvl3pPr>
            <a:lvl4pPr marL="1600200" indent="-228600">
              <a:defRPr sz="1400" b="1">
                <a:solidFill>
                  <a:srgbClr val="000000"/>
                </a:solidFill>
                <a:latin typeface="Arial" pitchFamily="34" charset="0"/>
                <a:ea typeface="맑은 고딕" pitchFamily="50" charset="-127"/>
              </a:defRPr>
            </a:lvl4pPr>
            <a:lvl5pPr marL="2057400" indent="-228600">
              <a:defRPr sz="1400" b="1">
                <a:solidFill>
                  <a:srgbClr val="000000"/>
                </a:solidFill>
                <a:latin typeface="Arial" pitchFamily="34" charset="0"/>
                <a:ea typeface="맑은 고딕" pitchFamily="50" charset="-127"/>
              </a:defRPr>
            </a:lvl5pPr>
            <a:lvl6pPr marL="2514600" indent="-228600"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pPr algn="ctr"/>
            <a:r>
              <a:rPr lang="en-US" altLang="ko-KR" dirty="0" smtClean="0"/>
              <a:t>Back-end</a:t>
            </a:r>
            <a:endParaRPr lang="ko-KR" altLang="en-US" dirty="0"/>
          </a:p>
        </p:txBody>
      </p:sp>
      <p:pic>
        <p:nvPicPr>
          <p:cNvPr id="1105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8879" y="2082800"/>
            <a:ext cx="2806065" cy="161784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9" name="Rectangle 1918"/>
          <p:cNvSpPr>
            <a:spLocks noChangeArrowheads="1"/>
          </p:cNvSpPr>
          <p:nvPr/>
        </p:nvSpPr>
        <p:spPr bwMode="auto">
          <a:xfrm>
            <a:off x="6553200" y="3835804"/>
            <a:ext cx="2002583" cy="255588"/>
          </a:xfrm>
          <a:prstGeom prst="rect">
            <a:avLst/>
          </a:prstGeom>
          <a:blipFill dpi="0" rotWithShape="0">
            <a:blip r:embed="rId4"/>
            <a:srcRect/>
            <a:tile tx="0" ty="0" sx="100000" sy="100000" flip="none" algn="tl"/>
          </a:blip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36000" rIns="36000" bIns="36000" anchor="ctr"/>
          <a:lstStyle/>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REACT</a:t>
            </a:r>
            <a:endParaRPr kumimoji="1" lang="en-US" altLang="en-US" sz="1300" dirty="0">
              <a:solidFill>
                <a:schemeClr val="tx1"/>
              </a:solidFill>
              <a:latin typeface="맑은 고딕" pitchFamily="50" charset="-127"/>
            </a:endParaRPr>
          </a:p>
        </p:txBody>
      </p:sp>
      <p:sp>
        <p:nvSpPr>
          <p:cNvPr id="50" name="Rectangle 1918"/>
          <p:cNvSpPr>
            <a:spLocks noChangeArrowheads="1"/>
          </p:cNvSpPr>
          <p:nvPr/>
        </p:nvSpPr>
        <p:spPr bwMode="auto">
          <a:xfrm>
            <a:off x="6568440" y="4186395"/>
            <a:ext cx="2002583" cy="255588"/>
          </a:xfrm>
          <a:prstGeom prst="rect">
            <a:avLst/>
          </a:prstGeom>
          <a:blipFill dpi="0" rotWithShape="0">
            <a:blip r:embed="rId4"/>
            <a:srcRect/>
            <a:tile tx="0" ty="0" sx="100000" sy="100000" flip="none" algn="tl"/>
          </a:blip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36000" rIns="36000" bIns="36000" anchor="ctr"/>
          <a:lstStyle/>
          <a:p>
            <a:pPr algn="ctr" defTabSz="1516063" eaLnBrk="1" hangingPunct="1">
              <a:spcBef>
                <a:spcPct val="20000"/>
              </a:spcBef>
              <a:spcAft>
                <a:spcPct val="15000"/>
              </a:spcAft>
              <a:buClr>
                <a:schemeClr val="tx1"/>
              </a:buClr>
              <a:buFont typeface="Times" pitchFamily="18" charset="0"/>
              <a:buNone/>
            </a:pPr>
            <a:r>
              <a:rPr kumimoji="1" lang="ko-KR" altLang="en-US" sz="1300" dirty="0" smtClean="0">
                <a:solidFill>
                  <a:schemeClr val="tx1"/>
                </a:solidFill>
                <a:latin typeface="맑은 고딕" pitchFamily="50" charset="-127"/>
              </a:rPr>
              <a:t>디자인 프레임워크</a:t>
            </a:r>
            <a:r>
              <a:rPr kumimoji="1" lang="en-US" altLang="ko-KR" sz="1300" dirty="0" smtClean="0">
                <a:solidFill>
                  <a:schemeClr val="tx1"/>
                </a:solidFill>
                <a:latin typeface="맑은 고딕" pitchFamily="50" charset="-127"/>
              </a:rPr>
              <a:t>(</a:t>
            </a:r>
            <a:r>
              <a:rPr kumimoji="1" lang="ko-KR" altLang="en-US" sz="1300" dirty="0" smtClean="0">
                <a:solidFill>
                  <a:schemeClr val="tx1"/>
                </a:solidFill>
                <a:latin typeface="맑은 고딕" pitchFamily="50" charset="-127"/>
              </a:rPr>
              <a:t>미정</a:t>
            </a:r>
            <a:r>
              <a:rPr kumimoji="1" lang="en-US" altLang="ko-KR" sz="1300" dirty="0" smtClean="0">
                <a:solidFill>
                  <a:schemeClr val="tx1"/>
                </a:solidFill>
                <a:latin typeface="맑은 고딕" pitchFamily="50" charset="-127"/>
              </a:rPr>
              <a:t>)</a:t>
            </a:r>
            <a:endParaRPr kumimoji="1" lang="en-US" altLang="en-US" sz="1300" dirty="0">
              <a:solidFill>
                <a:schemeClr val="tx1"/>
              </a:solidFill>
              <a:latin typeface="맑은 고딕" pitchFamily="50" charset="-127"/>
            </a:endParaRPr>
          </a:p>
        </p:txBody>
      </p:sp>
      <p:sp>
        <p:nvSpPr>
          <p:cNvPr id="57" name="Rectangle 1918"/>
          <p:cNvSpPr>
            <a:spLocks noChangeArrowheads="1"/>
          </p:cNvSpPr>
          <p:nvPr/>
        </p:nvSpPr>
        <p:spPr bwMode="auto">
          <a:xfrm>
            <a:off x="5913121" y="2082800"/>
            <a:ext cx="345972" cy="3449320"/>
          </a:xfrm>
          <a:prstGeom prst="rect">
            <a:avLst/>
          </a:prstGeom>
          <a:blipFill dpi="0" rotWithShape="0">
            <a:blip r:embed="rId4"/>
            <a:srcRect/>
            <a:tile tx="0" ty="0" sx="100000" sy="100000" flip="none" algn="tl"/>
          </a:blip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36000" rIns="36000" bIns="36000" anchor="ctr"/>
          <a:lstStyle/>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E</a:t>
            </a:r>
          </a:p>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X</a:t>
            </a:r>
          </a:p>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P</a:t>
            </a:r>
          </a:p>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R</a:t>
            </a:r>
          </a:p>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E</a:t>
            </a:r>
          </a:p>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S</a:t>
            </a:r>
          </a:p>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S</a:t>
            </a:r>
          </a:p>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a:t>
            </a:r>
          </a:p>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J</a:t>
            </a:r>
          </a:p>
          <a:p>
            <a:pPr algn="ctr" defTabSz="1516063" eaLnBrk="1" hangingPunct="1">
              <a:spcBef>
                <a:spcPct val="20000"/>
              </a:spcBef>
              <a:spcAft>
                <a:spcPct val="15000"/>
              </a:spcAft>
              <a:buClr>
                <a:schemeClr val="tx1"/>
              </a:buClr>
              <a:buFont typeface="Times" pitchFamily="18" charset="0"/>
              <a:buNone/>
            </a:pPr>
            <a:r>
              <a:rPr kumimoji="1" lang="en-US" altLang="en-US" sz="1300" dirty="0">
                <a:solidFill>
                  <a:schemeClr val="tx1"/>
                </a:solidFill>
                <a:latin typeface="맑은 고딕" pitchFamily="50" charset="-127"/>
              </a:rPr>
              <a:t>s</a:t>
            </a:r>
            <a:endParaRPr kumimoji="1" lang="en-US" altLang="en-US" sz="1300" dirty="0" smtClean="0">
              <a:solidFill>
                <a:schemeClr val="tx1"/>
              </a:solidFill>
              <a:latin typeface="맑은 고딕" pitchFamily="50" charset="-127"/>
            </a:endParaRPr>
          </a:p>
        </p:txBody>
      </p:sp>
      <p:pic>
        <p:nvPicPr>
          <p:cNvPr id="110596" name="Picture 4" descr="Ropsten | Anyblock Analytic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8475" y="2099425"/>
            <a:ext cx="2207260" cy="1241584"/>
          </a:xfrm>
          <a:prstGeom prst="rect">
            <a:avLst/>
          </a:prstGeom>
          <a:noFill/>
          <a:extLst>
            <a:ext uri="{909E8E84-426E-40DD-AFC4-6F175D3DCCD1}">
              <a14:hiddenFill xmlns:a14="http://schemas.microsoft.com/office/drawing/2010/main">
                <a:solidFill>
                  <a:srgbClr val="FFFFFF"/>
                </a:solidFill>
              </a14:hiddenFill>
            </a:ext>
          </a:extLst>
        </p:spPr>
      </p:pic>
      <p:pic>
        <p:nvPicPr>
          <p:cNvPr id="60" name="Graphic 13">
            <a:extLst>
              <a:ext uri="{FF2B5EF4-FFF2-40B4-BE49-F238E27FC236}">
                <a16:creationId xmlns="" xmlns:a16="http://schemas.microsoft.com/office/drawing/2014/main" id="{EEDC0EFF-46FA-41BE-B543-3254EB906F9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54424" y="3904581"/>
            <a:ext cx="316900" cy="457200"/>
          </a:xfrm>
          <a:prstGeom prst="rect">
            <a:avLst/>
          </a:prstGeom>
        </p:spPr>
      </p:pic>
      <p:sp>
        <p:nvSpPr>
          <p:cNvPr id="61" name="Rectangle 1918"/>
          <p:cNvSpPr>
            <a:spLocks noChangeArrowheads="1"/>
          </p:cNvSpPr>
          <p:nvPr/>
        </p:nvSpPr>
        <p:spPr bwMode="auto">
          <a:xfrm>
            <a:off x="828426" y="4473804"/>
            <a:ext cx="1074565" cy="255588"/>
          </a:xfrm>
          <a:prstGeom prst="rect">
            <a:avLst/>
          </a:prstGeom>
          <a:blipFill dpi="0" rotWithShape="0">
            <a:blip r:embed="rId4"/>
            <a:srcRect/>
            <a:tile tx="0" ty="0" sx="100000" sy="100000" flip="none" algn="tl"/>
          </a:blip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36000" rIns="36000" bIns="36000" anchor="ctr"/>
          <a:lstStyle/>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ERC721</a:t>
            </a:r>
            <a:endParaRPr kumimoji="1" lang="en-US" altLang="en-US" sz="1300" dirty="0">
              <a:solidFill>
                <a:schemeClr val="tx1"/>
              </a:solidFill>
              <a:latin typeface="맑은 고딕" pitchFamily="50" charset="-127"/>
            </a:endParaRPr>
          </a:p>
        </p:txBody>
      </p:sp>
      <p:pic>
        <p:nvPicPr>
          <p:cNvPr id="62" name="Graphic 8">
            <a:extLst>
              <a:ext uri="{FF2B5EF4-FFF2-40B4-BE49-F238E27FC236}">
                <a16:creationId xmlns="" xmlns:a16="http://schemas.microsoft.com/office/drawing/2014/main" id="{7A0E851F-08AA-4E90-B564-6C65B2E8CA2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4302919" y="2377440"/>
            <a:ext cx="443753" cy="457200"/>
          </a:xfrm>
          <a:prstGeom prst="rect">
            <a:avLst/>
          </a:prstGeom>
        </p:spPr>
      </p:pic>
      <p:sp>
        <p:nvSpPr>
          <p:cNvPr id="63" name="Rectangle 1918"/>
          <p:cNvSpPr>
            <a:spLocks noChangeArrowheads="1"/>
          </p:cNvSpPr>
          <p:nvPr/>
        </p:nvSpPr>
        <p:spPr bwMode="auto">
          <a:xfrm>
            <a:off x="3880748" y="2913339"/>
            <a:ext cx="1219890" cy="255588"/>
          </a:xfrm>
          <a:prstGeom prst="rect">
            <a:avLst/>
          </a:prstGeom>
          <a:blipFill dpi="0" rotWithShape="0">
            <a:blip r:embed="rId4"/>
            <a:srcRect/>
            <a:tile tx="0" ty="0" sx="100000" sy="100000" flip="none" algn="tl"/>
          </a:blip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36000" rIns="36000" bIns="36000" anchor="ctr"/>
          <a:lstStyle/>
          <a:p>
            <a:pPr algn="ctr" defTabSz="1516063" eaLnBrk="1" hangingPunct="1">
              <a:spcBef>
                <a:spcPct val="20000"/>
              </a:spcBef>
              <a:spcAft>
                <a:spcPct val="15000"/>
              </a:spcAft>
              <a:buClr>
                <a:schemeClr val="tx1"/>
              </a:buClr>
              <a:buFont typeface="Times" pitchFamily="18" charset="0"/>
              <a:buNone/>
            </a:pPr>
            <a:r>
              <a:rPr kumimoji="1" lang="en-US" altLang="en-US" sz="1300" dirty="0" err="1" smtClean="0">
                <a:solidFill>
                  <a:schemeClr val="tx1"/>
                </a:solidFill>
                <a:latin typeface="맑은 고딕" pitchFamily="50" charset="-127"/>
              </a:rPr>
              <a:t>mongoDB</a:t>
            </a:r>
            <a:endParaRPr kumimoji="1" lang="en-US" altLang="en-US" sz="1300" dirty="0">
              <a:solidFill>
                <a:schemeClr val="tx1"/>
              </a:solidFill>
              <a:latin typeface="맑은 고딕" pitchFamily="50" charset="-127"/>
            </a:endParaRPr>
          </a:p>
        </p:txBody>
      </p:sp>
      <p:pic>
        <p:nvPicPr>
          <p:cNvPr id="64" name="Graphic 21">
            <a:extLst>
              <a:ext uri="{FF2B5EF4-FFF2-40B4-BE49-F238E27FC236}">
                <a16:creationId xmlns="" xmlns:a16="http://schemas.microsoft.com/office/drawing/2014/main" id="{4A6D02FF-82F6-44BE-9F76-1DCA200A910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3097946" y="2377440"/>
            <a:ext cx="313435" cy="313435"/>
          </a:xfrm>
          <a:prstGeom prst="rect">
            <a:avLst/>
          </a:prstGeom>
        </p:spPr>
      </p:pic>
      <p:sp>
        <p:nvSpPr>
          <p:cNvPr id="65" name="Rectangle 1918"/>
          <p:cNvSpPr>
            <a:spLocks noChangeArrowheads="1"/>
          </p:cNvSpPr>
          <p:nvPr/>
        </p:nvSpPr>
        <p:spPr bwMode="auto">
          <a:xfrm>
            <a:off x="2871071" y="2099425"/>
            <a:ext cx="1258969" cy="255588"/>
          </a:xfrm>
          <a:prstGeom prst="rect">
            <a:avLst/>
          </a:prstGeom>
          <a:blipFill dpi="0" rotWithShape="0">
            <a:blip r:embed="rId4"/>
            <a:srcRect/>
            <a:tile tx="0" ty="0" sx="100000" sy="100000" flip="none" algn="tl"/>
          </a:blip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36000" rIns="36000" bIns="36000" anchor="ctr"/>
          <a:lstStyle/>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Scan Daemon</a:t>
            </a:r>
            <a:endParaRPr kumimoji="1" lang="en-US" altLang="en-US" sz="1300" dirty="0">
              <a:solidFill>
                <a:schemeClr val="tx1"/>
              </a:solidFill>
              <a:latin typeface="맑은 고딕" pitchFamily="50" charset="-127"/>
            </a:endParaRPr>
          </a:p>
        </p:txBody>
      </p:sp>
      <p:cxnSp>
        <p:nvCxnSpPr>
          <p:cNvPr id="67" name="Straight Arrow Connector 332"/>
          <p:cNvCxnSpPr>
            <a:cxnSpLocks noChangeShapeType="1"/>
          </p:cNvCxnSpPr>
          <p:nvPr/>
        </p:nvCxnSpPr>
        <p:spPr bwMode="auto">
          <a:xfrm>
            <a:off x="1597765" y="3341010"/>
            <a:ext cx="0" cy="466450"/>
          </a:xfrm>
          <a:prstGeom prst="straightConnector1">
            <a:avLst/>
          </a:prstGeom>
          <a:noFill/>
          <a:ln w="12700" algn="ctr">
            <a:solidFill>
              <a:srgbClr val="000066"/>
            </a:solidFill>
            <a:prstDash val="sysDash"/>
            <a:round/>
            <a:headEnd/>
            <a:tailEnd type="triangle" w="med" len="med"/>
          </a:ln>
          <a:extLst>
            <a:ext uri="{909E8E84-426E-40DD-AFC4-6F175D3DCCD1}">
              <a14:hiddenFill xmlns:a14="http://schemas.microsoft.com/office/drawing/2010/main">
                <a:noFill/>
              </a14:hiddenFill>
            </a:ext>
          </a:extLst>
        </p:spPr>
      </p:cxnSp>
      <p:pic>
        <p:nvPicPr>
          <p:cNvPr id="110603" name="Picture 11" descr="Node.js | Node.js의 시작 (feat. Express)"/>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936672" y="3845771"/>
            <a:ext cx="2230558" cy="936835"/>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1918"/>
          <p:cNvSpPr>
            <a:spLocks noChangeArrowheads="1"/>
          </p:cNvSpPr>
          <p:nvPr/>
        </p:nvSpPr>
        <p:spPr bwMode="auto">
          <a:xfrm>
            <a:off x="5062007" y="3617090"/>
            <a:ext cx="345972" cy="1752418"/>
          </a:xfrm>
          <a:prstGeom prst="rect">
            <a:avLst/>
          </a:prstGeom>
          <a:blipFill dpi="0" rotWithShape="0">
            <a:blip r:embed="rId4"/>
            <a:srcRect/>
            <a:tile tx="0" ty="0" sx="100000" sy="100000" flip="none" algn="tl"/>
          </a:blip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36000" rIns="36000" bIns="36000" anchor="ctr"/>
          <a:lstStyle/>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R</a:t>
            </a:r>
          </a:p>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E</a:t>
            </a:r>
          </a:p>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S</a:t>
            </a:r>
          </a:p>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T</a:t>
            </a:r>
          </a:p>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F</a:t>
            </a:r>
          </a:p>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U</a:t>
            </a:r>
          </a:p>
          <a:p>
            <a:pPr algn="ctr" defTabSz="1516063" eaLnBrk="1" hangingPunct="1">
              <a:spcBef>
                <a:spcPct val="20000"/>
              </a:spcBef>
              <a:spcAft>
                <a:spcPct val="15000"/>
              </a:spcAft>
              <a:buClr>
                <a:schemeClr val="tx1"/>
              </a:buClr>
              <a:buFont typeface="Times" pitchFamily="18" charset="0"/>
              <a:buNone/>
            </a:pPr>
            <a:r>
              <a:rPr kumimoji="1" lang="en-US" altLang="en-US" sz="1300" dirty="0">
                <a:solidFill>
                  <a:schemeClr val="tx1"/>
                </a:solidFill>
                <a:latin typeface="맑은 고딕" pitchFamily="50" charset="-127"/>
              </a:rPr>
              <a:t>l</a:t>
            </a:r>
            <a:endParaRPr kumimoji="1" lang="en-US" altLang="en-US" sz="1300" dirty="0" smtClean="0">
              <a:solidFill>
                <a:schemeClr val="tx1"/>
              </a:solidFill>
              <a:latin typeface="맑은 고딕" pitchFamily="50" charset="-127"/>
            </a:endParaRPr>
          </a:p>
        </p:txBody>
      </p:sp>
      <p:cxnSp>
        <p:nvCxnSpPr>
          <p:cNvPr id="74" name="Straight Arrow Connector 332"/>
          <p:cNvCxnSpPr>
            <a:cxnSpLocks noChangeShapeType="1"/>
          </p:cNvCxnSpPr>
          <p:nvPr/>
        </p:nvCxnSpPr>
        <p:spPr bwMode="auto">
          <a:xfrm flipH="1">
            <a:off x="4844689" y="865187"/>
            <a:ext cx="817635" cy="0"/>
          </a:xfrm>
          <a:prstGeom prst="straightConnector1">
            <a:avLst/>
          </a:prstGeom>
          <a:noFill/>
          <a:ln w="12700" algn="ctr">
            <a:solidFill>
              <a:srgbClr val="000066"/>
            </a:solidFill>
            <a:prstDash val="sysDash"/>
            <a:round/>
            <a:headEnd/>
            <a:tailEnd type="triangle" w="med" len="med"/>
          </a:ln>
          <a:extLst>
            <a:ext uri="{909E8E84-426E-40DD-AFC4-6F175D3DCCD1}">
              <a14:hiddenFill xmlns:a14="http://schemas.microsoft.com/office/drawing/2010/main">
                <a:noFill/>
              </a14:hiddenFill>
            </a:ext>
          </a:extLst>
        </p:spPr>
      </p:cxnSp>
      <p:cxnSp>
        <p:nvCxnSpPr>
          <p:cNvPr id="78" name="Straight Arrow Connector 332"/>
          <p:cNvCxnSpPr>
            <a:cxnSpLocks noChangeShapeType="1"/>
          </p:cNvCxnSpPr>
          <p:nvPr/>
        </p:nvCxnSpPr>
        <p:spPr bwMode="auto">
          <a:xfrm>
            <a:off x="5411528" y="3977337"/>
            <a:ext cx="501593" cy="14633"/>
          </a:xfrm>
          <a:prstGeom prst="straightConnector1">
            <a:avLst/>
          </a:prstGeom>
          <a:noFill/>
          <a:ln w="12700" algn="ctr">
            <a:solidFill>
              <a:srgbClr val="000066"/>
            </a:solidFill>
            <a:prstDash val="sysDash"/>
            <a:round/>
            <a:headEnd/>
            <a:tailEnd type="triangle" w="med" len="med"/>
          </a:ln>
          <a:extLst>
            <a:ext uri="{909E8E84-426E-40DD-AFC4-6F175D3DCCD1}">
              <a14:hiddenFill xmlns:a14="http://schemas.microsoft.com/office/drawing/2010/main">
                <a:noFill/>
              </a14:hiddenFill>
            </a:ext>
          </a:extLst>
        </p:spPr>
      </p:cxnSp>
      <p:cxnSp>
        <p:nvCxnSpPr>
          <p:cNvPr id="81" name="Straight Arrow Connector 332"/>
          <p:cNvCxnSpPr>
            <a:cxnSpLocks noChangeShapeType="1"/>
          </p:cNvCxnSpPr>
          <p:nvPr/>
        </p:nvCxnSpPr>
        <p:spPr bwMode="auto">
          <a:xfrm flipH="1">
            <a:off x="5411529" y="4091392"/>
            <a:ext cx="501592" cy="0"/>
          </a:xfrm>
          <a:prstGeom prst="straightConnector1">
            <a:avLst/>
          </a:prstGeom>
          <a:noFill/>
          <a:ln w="12700" algn="ctr">
            <a:solidFill>
              <a:srgbClr val="000066"/>
            </a:solidFill>
            <a:prstDash val="sysDash"/>
            <a:round/>
            <a:headEnd/>
            <a:tailEnd type="triangle" w="med" len="med"/>
          </a:ln>
          <a:extLst>
            <a:ext uri="{909E8E84-426E-40DD-AFC4-6F175D3DCCD1}">
              <a14:hiddenFill xmlns:a14="http://schemas.microsoft.com/office/drawing/2010/main">
                <a:noFill/>
              </a14:hiddenFill>
            </a:ext>
          </a:extLst>
        </p:spPr>
      </p:cxnSp>
      <p:cxnSp>
        <p:nvCxnSpPr>
          <p:cNvPr id="84" name="Straight Arrow Connector 332"/>
          <p:cNvCxnSpPr>
            <a:cxnSpLocks noChangeShapeType="1"/>
          </p:cNvCxnSpPr>
          <p:nvPr/>
        </p:nvCxnSpPr>
        <p:spPr bwMode="auto">
          <a:xfrm>
            <a:off x="2026920" y="4133181"/>
            <a:ext cx="973751" cy="0"/>
          </a:xfrm>
          <a:prstGeom prst="straightConnector1">
            <a:avLst/>
          </a:prstGeom>
          <a:noFill/>
          <a:ln w="12700" algn="ctr">
            <a:solidFill>
              <a:srgbClr val="000066"/>
            </a:solidFill>
            <a:prstDash val="sysDash"/>
            <a:round/>
            <a:headEnd/>
            <a:tailEnd type="triangle" w="med" len="med"/>
          </a:ln>
          <a:extLst>
            <a:ext uri="{909E8E84-426E-40DD-AFC4-6F175D3DCCD1}">
              <a14:hiddenFill xmlns:a14="http://schemas.microsoft.com/office/drawing/2010/main">
                <a:noFill/>
              </a14:hiddenFill>
            </a:ext>
          </a:extLst>
        </p:spPr>
      </p:cxnSp>
      <p:sp>
        <p:nvSpPr>
          <p:cNvPr id="87" name="Rectangle 1918"/>
          <p:cNvSpPr>
            <a:spLocks noChangeArrowheads="1"/>
          </p:cNvSpPr>
          <p:nvPr/>
        </p:nvSpPr>
        <p:spPr bwMode="auto">
          <a:xfrm>
            <a:off x="2209437" y="4470531"/>
            <a:ext cx="992595" cy="255588"/>
          </a:xfrm>
          <a:prstGeom prst="rect">
            <a:avLst/>
          </a:prstGeom>
          <a:blipFill dpi="0" rotWithShape="0">
            <a:blip r:embed="rId4"/>
            <a:srcRect/>
            <a:tile tx="0" ty="0" sx="100000" sy="100000" flip="none" algn="tl"/>
          </a:blip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36000" rIns="36000" bIns="36000" anchor="ctr"/>
          <a:lstStyle/>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Web3.js</a:t>
            </a:r>
            <a:endParaRPr kumimoji="1" lang="en-US" altLang="en-US" sz="1300" dirty="0">
              <a:solidFill>
                <a:schemeClr val="tx1"/>
              </a:solidFill>
              <a:latin typeface="맑은 고딕" pitchFamily="50" charset="-127"/>
            </a:endParaRPr>
          </a:p>
        </p:txBody>
      </p:sp>
      <p:cxnSp>
        <p:nvCxnSpPr>
          <p:cNvPr id="89" name="Straight Arrow Connector 332"/>
          <p:cNvCxnSpPr>
            <a:cxnSpLocks noChangeShapeType="1"/>
          </p:cNvCxnSpPr>
          <p:nvPr/>
        </p:nvCxnSpPr>
        <p:spPr bwMode="auto">
          <a:xfrm flipH="1">
            <a:off x="2026920" y="4241307"/>
            <a:ext cx="973751" cy="0"/>
          </a:xfrm>
          <a:prstGeom prst="straightConnector1">
            <a:avLst/>
          </a:prstGeom>
          <a:noFill/>
          <a:ln w="12700" algn="ctr">
            <a:solidFill>
              <a:srgbClr val="000066"/>
            </a:solidFill>
            <a:prstDash val="sysDash"/>
            <a:round/>
            <a:headEnd/>
            <a:tailEnd type="triangle" w="med" len="med"/>
          </a:ln>
          <a:extLst>
            <a:ext uri="{909E8E84-426E-40DD-AFC4-6F175D3DCCD1}">
              <a14:hiddenFill xmlns:a14="http://schemas.microsoft.com/office/drawing/2010/main">
                <a:noFill/>
              </a14:hiddenFill>
            </a:ext>
          </a:extLst>
        </p:spPr>
      </p:cxnSp>
      <p:cxnSp>
        <p:nvCxnSpPr>
          <p:cNvPr id="92" name="Straight Arrow Connector 332"/>
          <p:cNvCxnSpPr>
            <a:cxnSpLocks noChangeShapeType="1"/>
          </p:cNvCxnSpPr>
          <p:nvPr/>
        </p:nvCxnSpPr>
        <p:spPr bwMode="auto">
          <a:xfrm>
            <a:off x="2513795" y="3341010"/>
            <a:ext cx="897586" cy="469387"/>
          </a:xfrm>
          <a:prstGeom prst="straightConnector1">
            <a:avLst/>
          </a:prstGeom>
          <a:noFill/>
          <a:ln w="12700" algn="ctr">
            <a:solidFill>
              <a:srgbClr val="000066"/>
            </a:solidFill>
            <a:prstDash val="sysDash"/>
            <a:round/>
            <a:headEnd/>
            <a:tailEnd type="triangle" w="med" len="med"/>
          </a:ln>
          <a:extLst>
            <a:ext uri="{909E8E84-426E-40DD-AFC4-6F175D3DCCD1}">
              <a14:hiddenFill xmlns:a14="http://schemas.microsoft.com/office/drawing/2010/main">
                <a:noFill/>
              </a14:hiddenFill>
            </a:ext>
          </a:extLst>
        </p:spPr>
      </p:cxnSp>
      <p:cxnSp>
        <p:nvCxnSpPr>
          <p:cNvPr id="93" name="Straight Arrow Connector 332"/>
          <p:cNvCxnSpPr>
            <a:cxnSpLocks noChangeShapeType="1"/>
          </p:cNvCxnSpPr>
          <p:nvPr/>
        </p:nvCxnSpPr>
        <p:spPr bwMode="auto">
          <a:xfrm flipH="1" flipV="1">
            <a:off x="2437631" y="3429000"/>
            <a:ext cx="973750" cy="489524"/>
          </a:xfrm>
          <a:prstGeom prst="straightConnector1">
            <a:avLst/>
          </a:prstGeom>
          <a:noFill/>
          <a:ln w="12700" algn="ctr">
            <a:solidFill>
              <a:srgbClr val="000066"/>
            </a:solidFill>
            <a:prstDash val="sysDash"/>
            <a:round/>
            <a:headEnd/>
            <a:tailEnd type="triangle" w="med" len="med"/>
          </a:ln>
          <a:extLst>
            <a:ext uri="{909E8E84-426E-40DD-AFC4-6F175D3DCCD1}">
              <a14:hiddenFill xmlns:a14="http://schemas.microsoft.com/office/drawing/2010/main">
                <a:noFill/>
              </a14:hiddenFill>
            </a:ext>
          </a:extLst>
        </p:spPr>
      </p:cxnSp>
      <p:cxnSp>
        <p:nvCxnSpPr>
          <p:cNvPr id="98" name="Straight Arrow Connector 332"/>
          <p:cNvCxnSpPr>
            <a:cxnSpLocks noChangeShapeType="1"/>
          </p:cNvCxnSpPr>
          <p:nvPr/>
        </p:nvCxnSpPr>
        <p:spPr bwMode="auto">
          <a:xfrm flipV="1">
            <a:off x="4321605" y="3168928"/>
            <a:ext cx="0" cy="666876"/>
          </a:xfrm>
          <a:prstGeom prst="straightConnector1">
            <a:avLst/>
          </a:prstGeom>
          <a:noFill/>
          <a:ln w="12700" algn="ctr">
            <a:solidFill>
              <a:srgbClr val="000066"/>
            </a:solidFill>
            <a:prstDash val="sysDash"/>
            <a:round/>
            <a:headEnd/>
            <a:tailEnd type="triangle" w="med" len="med"/>
          </a:ln>
          <a:extLst>
            <a:ext uri="{909E8E84-426E-40DD-AFC4-6F175D3DCCD1}">
              <a14:hiddenFill xmlns:a14="http://schemas.microsoft.com/office/drawing/2010/main">
                <a:noFill/>
              </a14:hiddenFill>
            </a:ext>
          </a:extLst>
        </p:spPr>
      </p:cxnSp>
      <p:cxnSp>
        <p:nvCxnSpPr>
          <p:cNvPr id="99" name="Straight Arrow Connector 332"/>
          <p:cNvCxnSpPr>
            <a:cxnSpLocks noChangeShapeType="1"/>
          </p:cNvCxnSpPr>
          <p:nvPr/>
        </p:nvCxnSpPr>
        <p:spPr bwMode="auto">
          <a:xfrm>
            <a:off x="4484068" y="3186096"/>
            <a:ext cx="0" cy="687013"/>
          </a:xfrm>
          <a:prstGeom prst="straightConnector1">
            <a:avLst/>
          </a:prstGeom>
          <a:noFill/>
          <a:ln w="12700" algn="ctr">
            <a:solidFill>
              <a:srgbClr val="000066"/>
            </a:solidFill>
            <a:prstDash val="sysDash"/>
            <a:round/>
            <a:headEnd/>
            <a:tailEnd type="triangle" w="med" len="med"/>
          </a:ln>
          <a:extLst>
            <a:ext uri="{909E8E84-426E-40DD-AFC4-6F175D3DCCD1}">
              <a14:hiddenFill xmlns:a14="http://schemas.microsoft.com/office/drawing/2010/main">
                <a:noFill/>
              </a14:hiddenFill>
            </a:ext>
          </a:extLst>
        </p:spPr>
      </p:cxnSp>
      <p:pic>
        <p:nvPicPr>
          <p:cNvPr id="108" name="Graphic 13">
            <a:extLst>
              <a:ext uri="{FF2B5EF4-FFF2-40B4-BE49-F238E27FC236}">
                <a16:creationId xmlns="" xmlns:a16="http://schemas.microsoft.com/office/drawing/2014/main" id="{EEDC0EFF-46FA-41BE-B543-3254EB906F9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58764" y="4863225"/>
            <a:ext cx="316900" cy="457200"/>
          </a:xfrm>
          <a:prstGeom prst="rect">
            <a:avLst/>
          </a:prstGeom>
        </p:spPr>
      </p:pic>
      <p:sp>
        <p:nvSpPr>
          <p:cNvPr id="109" name="Rectangle 1918"/>
          <p:cNvSpPr>
            <a:spLocks noChangeArrowheads="1"/>
          </p:cNvSpPr>
          <p:nvPr/>
        </p:nvSpPr>
        <p:spPr bwMode="auto">
          <a:xfrm>
            <a:off x="828427" y="5370897"/>
            <a:ext cx="1074565" cy="255588"/>
          </a:xfrm>
          <a:prstGeom prst="rect">
            <a:avLst/>
          </a:prstGeom>
          <a:blipFill dpi="0" rotWithShape="0">
            <a:blip r:embed="rId4"/>
            <a:srcRect/>
            <a:tile tx="0" ty="0" sx="100000" sy="100000" flip="none" algn="tl"/>
          </a:blip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36000" rIns="36000" bIns="36000" anchor="ctr"/>
          <a:lstStyle/>
          <a:p>
            <a:pPr algn="ctr" defTabSz="1516063" eaLnBrk="1" hangingPunct="1">
              <a:spcBef>
                <a:spcPct val="20000"/>
              </a:spcBef>
              <a:spcAft>
                <a:spcPct val="15000"/>
              </a:spcAft>
              <a:buClr>
                <a:schemeClr val="tx1"/>
              </a:buClr>
              <a:buFont typeface="Times" pitchFamily="18" charset="0"/>
              <a:buNone/>
            </a:pPr>
            <a:r>
              <a:rPr kumimoji="1" lang="en-US" altLang="en-US" sz="1300" dirty="0" smtClean="0">
                <a:solidFill>
                  <a:schemeClr val="tx1"/>
                </a:solidFill>
                <a:latin typeface="맑은 고딕" pitchFamily="50" charset="-127"/>
              </a:rPr>
              <a:t>ERC20</a:t>
            </a:r>
            <a:endParaRPr kumimoji="1" lang="en-US" altLang="en-US" sz="1300" dirty="0">
              <a:solidFill>
                <a:schemeClr val="tx1"/>
              </a:solidFill>
              <a:latin typeface="맑은 고딕" pitchFamily="50" charset="-127"/>
            </a:endParaRPr>
          </a:p>
        </p:txBody>
      </p:sp>
    </p:spTree>
    <p:extLst>
      <p:ext uri="{BB962C8B-B14F-4D97-AF65-F5344CB8AC3E}">
        <p14:creationId xmlns:p14="http://schemas.microsoft.com/office/powerpoint/2010/main" val="334974481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3"/>
          <p:cNvSpPr>
            <a:spLocks noChangeArrowheads="1"/>
          </p:cNvSpPr>
          <p:nvPr/>
        </p:nvSpPr>
        <p:spPr bwMode="auto">
          <a:xfrm>
            <a:off x="296863" y="157163"/>
            <a:ext cx="11160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p>
            <a:pPr latinLnBrk="1"/>
            <a:r>
              <a:rPr lang="en-US" altLang="ko-KR" dirty="0" smtClean="0">
                <a:solidFill>
                  <a:schemeClr val="tx2"/>
                </a:solidFill>
                <a:latin typeface="맑은 고딕" pitchFamily="50" charset="-127"/>
              </a:rPr>
              <a:t>3. </a:t>
            </a:r>
            <a:r>
              <a:rPr lang="ko-KR" altLang="en-US" dirty="0" smtClean="0">
                <a:solidFill>
                  <a:schemeClr val="tx2"/>
                </a:solidFill>
                <a:latin typeface="맑은 고딕" pitchFamily="50" charset="-127"/>
              </a:rPr>
              <a:t>아키텍처</a:t>
            </a:r>
            <a:endParaRPr lang="en-US" altLang="ko-KR" dirty="0">
              <a:solidFill>
                <a:schemeClr val="tx2"/>
              </a:solidFill>
              <a:latin typeface="맑은 고딕" pitchFamily="50" charset="-127"/>
            </a:endParaRPr>
          </a:p>
        </p:txBody>
      </p:sp>
      <p:sp>
        <p:nvSpPr>
          <p:cNvPr id="349" name="Rectangle 2"/>
          <p:cNvSpPr txBox="1">
            <a:spLocks noChangeArrowheads="1"/>
          </p:cNvSpPr>
          <p:nvPr/>
        </p:nvSpPr>
        <p:spPr bwMode="auto">
          <a:xfrm>
            <a:off x="296863" y="457200"/>
            <a:ext cx="92741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err="1" smtClean="0">
                <a:latin typeface="맑은 고딕" panose="020B0503020000020004" pitchFamily="50" charset="-127"/>
              </a:rPr>
              <a:t>백앤드</a:t>
            </a:r>
            <a:r>
              <a:rPr lang="ko-KR" altLang="en-US" sz="1800" b="0" kern="0" dirty="0" smtClean="0">
                <a:latin typeface="맑은 고딕" panose="020B0503020000020004" pitchFamily="50" charset="-127"/>
              </a:rPr>
              <a:t> </a:t>
            </a:r>
            <a:r>
              <a:rPr lang="en-US" altLang="ko-KR" sz="1800" b="0" kern="0" dirty="0" smtClean="0">
                <a:latin typeface="맑은 고딕" panose="020B0503020000020004" pitchFamily="50" charset="-127"/>
              </a:rPr>
              <a:t>APIs</a:t>
            </a:r>
            <a:endParaRPr lang="ko-KR" altLang="en-US" sz="1800" b="0" kern="0" dirty="0">
              <a:latin typeface="맑은 고딕" panose="020B0503020000020004" pitchFamily="50" charset="-127"/>
            </a:endParaRPr>
          </a:p>
        </p:txBody>
      </p:sp>
      <p:sp>
        <p:nvSpPr>
          <p:cNvPr id="30" name="Rectangle 2"/>
          <p:cNvSpPr txBox="1">
            <a:spLocks noChangeArrowheads="1"/>
          </p:cNvSpPr>
          <p:nvPr/>
        </p:nvSpPr>
        <p:spPr bwMode="auto">
          <a:xfrm>
            <a:off x="426720" y="1554479"/>
            <a:ext cx="92741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en-US" altLang="ko-KR" sz="1800" b="0" kern="0" dirty="0" smtClean="0">
                <a:latin typeface="맑은 고딕" panose="020B0503020000020004" pitchFamily="50" charset="-127"/>
              </a:rPr>
              <a:t>TBD</a:t>
            </a:r>
            <a:endParaRPr lang="ko-KR" altLang="en-US" sz="1800" b="0" kern="0" dirty="0">
              <a:latin typeface="맑은 고딕" panose="020B0503020000020004" pitchFamily="50" charset="-127"/>
            </a:endParaRPr>
          </a:p>
        </p:txBody>
      </p:sp>
    </p:spTree>
    <p:extLst>
      <p:ext uri="{BB962C8B-B14F-4D97-AF65-F5344CB8AC3E}">
        <p14:creationId xmlns:p14="http://schemas.microsoft.com/office/powerpoint/2010/main" val="154105876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3"/>
          <p:cNvSpPr>
            <a:spLocks noChangeArrowheads="1"/>
          </p:cNvSpPr>
          <p:nvPr/>
        </p:nvSpPr>
        <p:spPr bwMode="auto">
          <a:xfrm>
            <a:off x="296863" y="157163"/>
            <a:ext cx="11160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p>
            <a:pPr latinLnBrk="1"/>
            <a:r>
              <a:rPr lang="en-US" altLang="ko-KR" dirty="0" smtClean="0">
                <a:solidFill>
                  <a:schemeClr val="tx2"/>
                </a:solidFill>
                <a:latin typeface="맑은 고딕" pitchFamily="50" charset="-127"/>
              </a:rPr>
              <a:t>3. </a:t>
            </a:r>
            <a:r>
              <a:rPr lang="ko-KR" altLang="en-US" dirty="0" smtClean="0">
                <a:solidFill>
                  <a:schemeClr val="tx2"/>
                </a:solidFill>
                <a:latin typeface="맑은 고딕" pitchFamily="50" charset="-127"/>
              </a:rPr>
              <a:t>아키텍처</a:t>
            </a:r>
            <a:endParaRPr lang="en-US" altLang="ko-KR" dirty="0">
              <a:solidFill>
                <a:schemeClr val="tx2"/>
              </a:solidFill>
              <a:latin typeface="맑은 고딕" pitchFamily="50" charset="-127"/>
            </a:endParaRPr>
          </a:p>
        </p:txBody>
      </p:sp>
      <p:sp>
        <p:nvSpPr>
          <p:cNvPr id="349" name="Rectangle 2"/>
          <p:cNvSpPr txBox="1">
            <a:spLocks noChangeArrowheads="1"/>
          </p:cNvSpPr>
          <p:nvPr/>
        </p:nvSpPr>
        <p:spPr bwMode="auto">
          <a:xfrm>
            <a:off x="296863" y="457200"/>
            <a:ext cx="92741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en-US" altLang="ko-KR" sz="1800" b="0" kern="0" dirty="0" smtClean="0">
                <a:latin typeface="맑은 고딕" panose="020B0503020000020004" pitchFamily="50" charset="-127"/>
              </a:rPr>
              <a:t>DB Tables</a:t>
            </a:r>
            <a:endParaRPr lang="ko-KR" altLang="en-US" sz="1800" b="0" kern="0" dirty="0">
              <a:latin typeface="맑은 고딕" panose="020B0503020000020004" pitchFamily="50" charset="-127"/>
            </a:endParaRPr>
          </a:p>
        </p:txBody>
      </p:sp>
      <p:sp>
        <p:nvSpPr>
          <p:cNvPr id="30" name="Rectangle 2"/>
          <p:cNvSpPr txBox="1">
            <a:spLocks noChangeArrowheads="1"/>
          </p:cNvSpPr>
          <p:nvPr/>
        </p:nvSpPr>
        <p:spPr bwMode="auto">
          <a:xfrm>
            <a:off x="426719" y="1508760"/>
            <a:ext cx="9274175" cy="2880360"/>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marL="285750" indent="-285750">
              <a:buFontTx/>
              <a:buChar char="-"/>
              <a:defRPr/>
            </a:pPr>
            <a:r>
              <a:rPr lang="en-US" altLang="ko-KR" sz="1800" b="0" kern="0" dirty="0" smtClean="0">
                <a:latin typeface="맑은 고딕" panose="020B0503020000020004" pitchFamily="50" charset="-127"/>
              </a:rPr>
              <a:t>User</a:t>
            </a:r>
          </a:p>
          <a:p>
            <a:pPr marL="285750" indent="-285750">
              <a:buFontTx/>
              <a:buChar char="-"/>
              <a:defRPr/>
            </a:pPr>
            <a:r>
              <a:rPr lang="en-US" altLang="ko-KR" sz="1800" b="0" kern="0" dirty="0" smtClean="0">
                <a:latin typeface="맑은 고딕" panose="020B0503020000020004" pitchFamily="50" charset="-127"/>
              </a:rPr>
              <a:t>ERC20 transactions (from </a:t>
            </a:r>
            <a:r>
              <a:rPr lang="ko-KR" altLang="en-US" sz="1800" b="0" kern="0" dirty="0" err="1" smtClean="0">
                <a:latin typeface="맑은 고딕" panose="020B0503020000020004" pitchFamily="50" charset="-127"/>
              </a:rPr>
              <a:t>이더</a:t>
            </a:r>
            <a:r>
              <a:rPr lang="en-US" altLang="ko-KR" sz="1800" b="0" kern="0" dirty="0" smtClean="0">
                <a:latin typeface="맑은 고딕" panose="020B0503020000020004" pitchFamily="50" charset="-127"/>
              </a:rPr>
              <a:t>)</a:t>
            </a:r>
          </a:p>
          <a:p>
            <a:pPr marL="285750" indent="-285750">
              <a:buFontTx/>
              <a:buChar char="-"/>
              <a:defRPr/>
            </a:pPr>
            <a:r>
              <a:rPr lang="en-US" altLang="ko-KR" sz="1800" b="0" kern="0" dirty="0" smtClean="0">
                <a:latin typeface="맑은 고딕" panose="020B0503020000020004" pitchFamily="50" charset="-127"/>
              </a:rPr>
              <a:t>ERC721 transactions (from </a:t>
            </a:r>
            <a:r>
              <a:rPr lang="ko-KR" altLang="en-US" sz="1800" b="0" kern="0" dirty="0" err="1" smtClean="0">
                <a:latin typeface="맑은 고딕" panose="020B0503020000020004" pitchFamily="50" charset="-127"/>
              </a:rPr>
              <a:t>이더</a:t>
            </a:r>
            <a:r>
              <a:rPr lang="en-US" altLang="ko-KR" sz="1800" b="0" kern="0" dirty="0" smtClean="0">
                <a:latin typeface="맑은 고딕" panose="020B0503020000020004" pitchFamily="50" charset="-127"/>
              </a:rPr>
              <a:t>)</a:t>
            </a:r>
          </a:p>
          <a:p>
            <a:pPr marL="285750" indent="-285750">
              <a:buFontTx/>
              <a:buChar char="-"/>
              <a:defRPr/>
            </a:pPr>
            <a:r>
              <a:rPr lang="ko-KR" altLang="en-US" sz="1800" b="0" kern="0" dirty="0" smtClean="0">
                <a:latin typeface="맑은 고딕" panose="020B0503020000020004" pitchFamily="50" charset="-127"/>
              </a:rPr>
              <a:t>공동명의 </a:t>
            </a:r>
            <a:r>
              <a:rPr lang="en-US" altLang="ko-KR" sz="1800" b="0" kern="0" dirty="0" smtClean="0">
                <a:latin typeface="맑은 고딕" panose="020B0503020000020004" pitchFamily="50" charset="-127"/>
              </a:rPr>
              <a:t>instance</a:t>
            </a:r>
          </a:p>
          <a:p>
            <a:pPr marL="285750" indent="-285750">
              <a:buFontTx/>
              <a:buChar char="-"/>
              <a:defRPr/>
            </a:pPr>
            <a:r>
              <a:rPr lang="en-US" altLang="ko-KR" sz="1800" b="0" kern="0" dirty="0" smtClean="0">
                <a:latin typeface="맑은 고딕" panose="020B0503020000020004" pitchFamily="50" charset="-127"/>
              </a:rPr>
              <a:t>Wallet (</a:t>
            </a:r>
            <a:r>
              <a:rPr lang="ko-KR" altLang="en-US" sz="1800" b="0" kern="0" dirty="0" smtClean="0">
                <a:latin typeface="맑은 고딕" panose="020B0503020000020004" pitchFamily="50" charset="-127"/>
              </a:rPr>
              <a:t>그룹</a:t>
            </a:r>
            <a:r>
              <a:rPr lang="en-US" altLang="ko-KR" sz="1800" b="0" kern="0" dirty="0" smtClean="0">
                <a:latin typeface="맑은 고딕" panose="020B0503020000020004" pitchFamily="50" charset="-127"/>
              </a:rPr>
              <a:t>, </a:t>
            </a:r>
            <a:r>
              <a:rPr lang="en-US" altLang="ko-KR" sz="1800" b="0" kern="0" dirty="0" err="1" smtClean="0">
                <a:latin typeface="맑은 고딕" panose="020B0503020000020004" pitchFamily="50" charset="-127"/>
              </a:rPr>
              <a:t>SubDAO</a:t>
            </a:r>
            <a:r>
              <a:rPr lang="en-US" altLang="ko-KR" sz="1800" b="0" kern="0" dirty="0" smtClean="0">
                <a:latin typeface="맑은 고딕" panose="020B0503020000020004" pitchFamily="50" charset="-127"/>
              </a:rPr>
              <a:t>, DAO </a:t>
            </a:r>
            <a:r>
              <a:rPr lang="ko-KR" altLang="en-US" sz="1800" b="0" kern="0" dirty="0" smtClean="0">
                <a:latin typeface="맑은 고딕" panose="020B0503020000020004" pitchFamily="50" charset="-127"/>
              </a:rPr>
              <a:t>등</a:t>
            </a:r>
            <a:r>
              <a:rPr lang="en-US" altLang="ko-KR" sz="1800" b="0" kern="0" dirty="0" smtClean="0">
                <a:latin typeface="맑은 고딕" panose="020B0503020000020004" pitchFamily="50" charset="-127"/>
              </a:rPr>
              <a:t>)</a:t>
            </a:r>
            <a:endParaRPr lang="en-US" altLang="ko-KR" sz="1800" b="0" kern="0" dirty="0">
              <a:latin typeface="맑은 고딕" panose="020B0503020000020004" pitchFamily="50" charset="-127"/>
            </a:endParaRPr>
          </a:p>
          <a:p>
            <a:pPr marL="285750" indent="-285750">
              <a:buFontTx/>
              <a:buChar char="-"/>
              <a:defRPr/>
            </a:pPr>
            <a:r>
              <a:rPr lang="ko-KR" altLang="en-US" sz="1800" b="0" kern="0" dirty="0" smtClean="0">
                <a:latin typeface="맑은 고딕" panose="020B0503020000020004" pitchFamily="50" charset="-127"/>
              </a:rPr>
              <a:t>그룹 정보</a:t>
            </a:r>
            <a:endParaRPr lang="en-US" altLang="ko-KR" sz="1800" b="0" kern="0" dirty="0" smtClean="0">
              <a:latin typeface="맑은 고딕" panose="020B0503020000020004" pitchFamily="50" charset="-127"/>
            </a:endParaRPr>
          </a:p>
          <a:p>
            <a:pPr marL="285750" indent="-285750">
              <a:buFontTx/>
              <a:buChar char="-"/>
              <a:defRPr/>
            </a:pPr>
            <a:r>
              <a:rPr lang="en-US" altLang="ko-KR" sz="1800" b="0" kern="0" dirty="0" err="1" smtClean="0">
                <a:latin typeface="맑은 고딕" panose="020B0503020000020004" pitchFamily="50" charset="-127"/>
              </a:rPr>
              <a:t>SubDAO</a:t>
            </a:r>
            <a:r>
              <a:rPr lang="en-US" altLang="ko-KR" sz="1800" b="0" kern="0" dirty="0" smtClean="0">
                <a:latin typeface="맑은 고딕" panose="020B0503020000020004" pitchFamily="50" charset="-127"/>
              </a:rPr>
              <a:t> </a:t>
            </a:r>
            <a:r>
              <a:rPr lang="ko-KR" altLang="en-US" sz="1800" b="0" kern="0" dirty="0" smtClean="0">
                <a:latin typeface="맑은 고딕" panose="020B0503020000020004" pitchFamily="50" charset="-127"/>
              </a:rPr>
              <a:t>정보</a:t>
            </a:r>
            <a:endParaRPr lang="en-US" altLang="ko-KR" sz="1800" b="0" kern="0" dirty="0" smtClean="0">
              <a:latin typeface="맑은 고딕" panose="020B0503020000020004" pitchFamily="50" charset="-127"/>
            </a:endParaRPr>
          </a:p>
          <a:p>
            <a:pPr marL="285750" indent="-285750">
              <a:buFontTx/>
              <a:buChar char="-"/>
              <a:defRPr/>
            </a:pPr>
            <a:r>
              <a:rPr lang="en-US" altLang="ko-KR" sz="1800" b="0" kern="0" dirty="0" smtClean="0">
                <a:latin typeface="맑은 고딕" panose="020B0503020000020004" pitchFamily="50" charset="-127"/>
              </a:rPr>
              <a:t>NFT </a:t>
            </a:r>
            <a:r>
              <a:rPr lang="ko-KR" altLang="en-US" sz="1800" b="0" kern="0" dirty="0" smtClean="0">
                <a:latin typeface="맑은 고딕" panose="020B0503020000020004" pitchFamily="50" charset="-127"/>
              </a:rPr>
              <a:t>거래 내역 </a:t>
            </a:r>
            <a:r>
              <a:rPr lang="en-US" altLang="ko-KR" sz="1800" b="0" kern="0" dirty="0" smtClean="0">
                <a:latin typeface="맑은 고딕" panose="020B0503020000020004" pitchFamily="50" charset="-127"/>
              </a:rPr>
              <a:t>(from </a:t>
            </a:r>
            <a:r>
              <a:rPr lang="ko-KR" altLang="en-US" sz="1800" b="0" kern="0" dirty="0" err="1" smtClean="0">
                <a:latin typeface="맑은 고딕" panose="020B0503020000020004" pitchFamily="50" charset="-127"/>
              </a:rPr>
              <a:t>이더</a:t>
            </a:r>
            <a:r>
              <a:rPr lang="en-US" altLang="ko-KR" sz="1800" b="0" kern="0" dirty="0" smtClean="0">
                <a:latin typeface="맑은 고딕" panose="020B0503020000020004" pitchFamily="50" charset="-127"/>
              </a:rPr>
              <a:t>)</a:t>
            </a:r>
          </a:p>
          <a:p>
            <a:pPr marL="285750" indent="-285750">
              <a:buFontTx/>
              <a:buChar char="-"/>
              <a:defRPr/>
            </a:pPr>
            <a:r>
              <a:rPr lang="en-US" altLang="ko-KR" sz="1800" b="0" kern="0" dirty="0" smtClean="0">
                <a:latin typeface="맑은 고딕" panose="020B0503020000020004" pitchFamily="50" charset="-127"/>
              </a:rPr>
              <a:t>…</a:t>
            </a:r>
          </a:p>
          <a:p>
            <a:pPr marL="285750" indent="-285750">
              <a:buFontTx/>
              <a:buChar char="-"/>
              <a:defRPr/>
            </a:pPr>
            <a:endParaRPr lang="en-US" altLang="ko-KR" sz="1800" b="0" kern="0" dirty="0" smtClean="0">
              <a:latin typeface="맑은 고딕" panose="020B0503020000020004" pitchFamily="50" charset="-127"/>
            </a:endParaRPr>
          </a:p>
          <a:p>
            <a:pPr>
              <a:defRPr/>
            </a:pPr>
            <a:r>
              <a:rPr lang="en-US" altLang="ko-KR" sz="1800" b="0" kern="0" dirty="0" smtClean="0">
                <a:latin typeface="맑은 고딕" panose="020B0503020000020004" pitchFamily="50" charset="-127"/>
              </a:rPr>
              <a:t>TBD</a:t>
            </a:r>
            <a:endParaRPr lang="ko-KR" altLang="en-US" sz="1800" b="0" kern="0" dirty="0">
              <a:latin typeface="맑은 고딕" panose="020B0503020000020004" pitchFamily="50" charset="-127"/>
            </a:endParaRPr>
          </a:p>
        </p:txBody>
      </p:sp>
    </p:spTree>
    <p:extLst>
      <p:ext uri="{BB962C8B-B14F-4D97-AF65-F5344CB8AC3E}">
        <p14:creationId xmlns:p14="http://schemas.microsoft.com/office/powerpoint/2010/main" val="168749692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3"/>
          <p:cNvSpPr>
            <a:spLocks noChangeArrowheads="1"/>
          </p:cNvSpPr>
          <p:nvPr/>
        </p:nvSpPr>
        <p:spPr bwMode="auto">
          <a:xfrm>
            <a:off x="296863" y="157163"/>
            <a:ext cx="11160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p>
            <a:pPr latinLnBrk="1"/>
            <a:r>
              <a:rPr lang="en-US" altLang="ko-KR" dirty="0" smtClean="0">
                <a:solidFill>
                  <a:schemeClr val="tx2"/>
                </a:solidFill>
                <a:latin typeface="맑은 고딕" pitchFamily="50" charset="-127"/>
              </a:rPr>
              <a:t>3. </a:t>
            </a:r>
            <a:r>
              <a:rPr lang="ko-KR" altLang="en-US" dirty="0" smtClean="0">
                <a:solidFill>
                  <a:schemeClr val="tx2"/>
                </a:solidFill>
                <a:latin typeface="맑은 고딕" pitchFamily="50" charset="-127"/>
              </a:rPr>
              <a:t>아키텍처</a:t>
            </a:r>
            <a:endParaRPr lang="en-US" altLang="ko-KR" dirty="0">
              <a:solidFill>
                <a:schemeClr val="tx2"/>
              </a:solidFill>
              <a:latin typeface="맑은 고딕" pitchFamily="50" charset="-127"/>
            </a:endParaRPr>
          </a:p>
        </p:txBody>
      </p:sp>
      <p:sp>
        <p:nvSpPr>
          <p:cNvPr id="349" name="Rectangle 2"/>
          <p:cNvSpPr txBox="1">
            <a:spLocks noChangeArrowheads="1"/>
          </p:cNvSpPr>
          <p:nvPr/>
        </p:nvSpPr>
        <p:spPr bwMode="auto">
          <a:xfrm>
            <a:off x="296863" y="457200"/>
            <a:ext cx="92741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err="1" smtClean="0">
                <a:latin typeface="맑은 고딕" panose="020B0503020000020004" pitchFamily="50" charset="-127"/>
              </a:rPr>
              <a:t>이더리움</a:t>
            </a:r>
            <a:r>
              <a:rPr lang="ko-KR" altLang="en-US" sz="1800" b="0" kern="0" dirty="0" smtClean="0">
                <a:latin typeface="맑은 고딕" panose="020B0503020000020004" pitchFamily="50" charset="-127"/>
              </a:rPr>
              <a:t> 블록 스캔</a:t>
            </a:r>
            <a:endParaRPr lang="ko-KR" altLang="en-US" sz="1800" b="0" kern="0" dirty="0">
              <a:latin typeface="맑은 고딕" panose="020B0503020000020004" pitchFamily="50" charset="-127"/>
            </a:endParaRPr>
          </a:p>
        </p:txBody>
      </p:sp>
      <p:sp>
        <p:nvSpPr>
          <p:cNvPr id="30" name="Rectangle 2"/>
          <p:cNvSpPr txBox="1">
            <a:spLocks noChangeArrowheads="1"/>
          </p:cNvSpPr>
          <p:nvPr/>
        </p:nvSpPr>
        <p:spPr bwMode="auto">
          <a:xfrm>
            <a:off x="426720" y="1554479"/>
            <a:ext cx="92741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애플리케이션 관련 </a:t>
            </a:r>
            <a:r>
              <a:rPr lang="en-US" altLang="ko-KR" sz="1800" b="0" kern="0" dirty="0" smtClean="0">
                <a:latin typeface="맑은 고딕" panose="020B0503020000020004" pitchFamily="50" charset="-127"/>
              </a:rPr>
              <a:t>transactions </a:t>
            </a:r>
            <a:r>
              <a:rPr lang="ko-KR" altLang="en-US" sz="1800" b="0" kern="0" dirty="0" smtClean="0">
                <a:latin typeface="맑은 고딕" panose="020B0503020000020004" pitchFamily="50" charset="-127"/>
              </a:rPr>
              <a:t>은 로컬 </a:t>
            </a:r>
            <a:r>
              <a:rPr lang="en-US" altLang="ko-KR" sz="1800" b="0" kern="0" dirty="0" smtClean="0">
                <a:latin typeface="맑은 고딕" panose="020B0503020000020004" pitchFamily="50" charset="-127"/>
              </a:rPr>
              <a:t>DB</a:t>
            </a:r>
            <a:r>
              <a:rPr lang="ko-KR" altLang="en-US" sz="1800" b="0" kern="0" dirty="0" smtClean="0">
                <a:latin typeface="맑은 고딕" panose="020B0503020000020004" pitchFamily="50" charset="-127"/>
              </a:rPr>
              <a:t>에 적재</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백업</a:t>
            </a:r>
            <a:r>
              <a:rPr lang="en-US" altLang="ko-KR" sz="1800" b="0" kern="0" dirty="0" smtClean="0">
                <a:latin typeface="맑은 고딕" panose="020B0503020000020004" pitchFamily="50" charset="-127"/>
              </a:rPr>
              <a:t>)</a:t>
            </a:r>
            <a:endParaRPr lang="ko-KR" altLang="en-US" sz="1800" b="0" kern="0" dirty="0">
              <a:latin typeface="맑은 고딕" panose="020B0503020000020004" pitchFamily="50" charset="-127"/>
            </a:endParaRPr>
          </a:p>
        </p:txBody>
      </p:sp>
    </p:spTree>
    <p:extLst>
      <p:ext uri="{BB962C8B-B14F-4D97-AF65-F5344CB8AC3E}">
        <p14:creationId xmlns:p14="http://schemas.microsoft.com/office/powerpoint/2010/main" val="199450263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9"/>
          <p:cNvSpPr>
            <a:spLocks noChangeArrowheads="1"/>
          </p:cNvSpPr>
          <p:nvPr/>
        </p:nvSpPr>
        <p:spPr bwMode="gray">
          <a:xfrm>
            <a:off x="904414" y="3703320"/>
            <a:ext cx="4327525" cy="460375"/>
          </a:xfrm>
          <a:prstGeom prst="rect">
            <a:avLst/>
          </a:prstGeom>
          <a:solidFill>
            <a:srgbClr val="000066"/>
          </a:solidFill>
          <a:ln w="9525" algn="ctr">
            <a:solidFill>
              <a:srgbClr val="000066"/>
            </a:solidFill>
            <a:miter lim="800000"/>
            <a:headEnd/>
            <a:tailEnd/>
          </a:ln>
        </p:spPr>
        <p:txBody>
          <a:bodyPr anchor="ctr"/>
          <a:lstStyle/>
          <a:p>
            <a:pPr defTabSz="957263">
              <a:lnSpc>
                <a:spcPct val="90000"/>
              </a:lnSpc>
            </a:pPr>
            <a:endParaRPr lang="ko-KR" altLang="en-US" sz="1600">
              <a:solidFill>
                <a:schemeClr val="tx1"/>
              </a:solidFill>
              <a:latin typeface="맑은 고딕" pitchFamily="50" charset="-127"/>
            </a:endParaRPr>
          </a:p>
        </p:txBody>
      </p:sp>
      <p:sp>
        <p:nvSpPr>
          <p:cNvPr id="68611" name="Line 8"/>
          <p:cNvSpPr>
            <a:spLocks noChangeShapeType="1"/>
          </p:cNvSpPr>
          <p:nvPr/>
        </p:nvSpPr>
        <p:spPr bwMode="auto">
          <a:xfrm>
            <a:off x="896938" y="1927225"/>
            <a:ext cx="3678237"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wrap="none" lIns="0" tIns="0" rIns="0" bIns="0" anchor="ctr"/>
          <a:lstStyle/>
          <a:p>
            <a:endParaRPr lang="ko-KR" altLang="en-US"/>
          </a:p>
        </p:txBody>
      </p:sp>
      <p:sp>
        <p:nvSpPr>
          <p:cNvPr id="68612" name="Rectangle 9"/>
          <p:cNvSpPr>
            <a:spLocks noChangeArrowheads="1"/>
          </p:cNvSpPr>
          <p:nvPr/>
        </p:nvSpPr>
        <p:spPr bwMode="auto">
          <a:xfrm>
            <a:off x="1076325" y="1530350"/>
            <a:ext cx="457200" cy="2746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999999"/>
                  </a:outerShdw>
                </a:effectLst>
              </a14:hiddenEffects>
            </a:ext>
          </a:extLst>
        </p:spPr>
        <p:txBody>
          <a:bodyPr wrap="none" lIns="0" tIns="0" rIns="0" bIns="0">
            <a:spAutoFit/>
          </a:bodyPr>
          <a:lstStyle/>
          <a:p>
            <a:pPr algn="ctr" eaLnBrk="1" latinLnBrk="1" hangingPunct="1">
              <a:spcBef>
                <a:spcPct val="30000"/>
              </a:spcBef>
            </a:pPr>
            <a:r>
              <a:rPr kumimoji="1" lang="ko-KR" altLang="en-US" sz="1800">
                <a:solidFill>
                  <a:schemeClr val="tx1"/>
                </a:solidFill>
              </a:rPr>
              <a:t>목차</a:t>
            </a:r>
          </a:p>
        </p:txBody>
      </p:sp>
      <p:sp>
        <p:nvSpPr>
          <p:cNvPr id="68613" name="Text Box 4"/>
          <p:cNvSpPr txBox="1">
            <a:spLocks noChangeArrowheads="1"/>
          </p:cNvSpPr>
          <p:nvPr/>
        </p:nvSpPr>
        <p:spPr bwMode="gray">
          <a:xfrm>
            <a:off x="992188" y="2097088"/>
            <a:ext cx="5378450" cy="261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marL="355600" indent="-355600">
              <a:defRPr sz="1400" b="1">
                <a:solidFill>
                  <a:srgbClr val="000000"/>
                </a:solidFill>
                <a:latin typeface="Arial" pitchFamily="34" charset="0"/>
                <a:ea typeface="맑은 고딕" pitchFamily="50" charset="-127"/>
              </a:defRPr>
            </a:lvl1pPr>
            <a:lvl2pPr marL="742950" indent="-285750">
              <a:defRPr sz="1400" b="1">
                <a:solidFill>
                  <a:srgbClr val="000000"/>
                </a:solidFill>
                <a:latin typeface="Arial" pitchFamily="34" charset="0"/>
                <a:ea typeface="맑은 고딕" pitchFamily="50" charset="-127"/>
              </a:defRPr>
            </a:lvl2pPr>
            <a:lvl3pPr marL="1143000" indent="-228600">
              <a:defRPr sz="1400" b="1">
                <a:solidFill>
                  <a:srgbClr val="000000"/>
                </a:solidFill>
                <a:latin typeface="Arial" pitchFamily="34" charset="0"/>
                <a:ea typeface="맑은 고딕" pitchFamily="50" charset="-127"/>
              </a:defRPr>
            </a:lvl3pPr>
            <a:lvl4pPr marL="1600200" indent="-228600">
              <a:defRPr sz="1400" b="1">
                <a:solidFill>
                  <a:srgbClr val="000000"/>
                </a:solidFill>
                <a:latin typeface="Arial" pitchFamily="34" charset="0"/>
                <a:ea typeface="맑은 고딕" pitchFamily="50" charset="-127"/>
              </a:defRPr>
            </a:lvl4pPr>
            <a:lvl5pPr marL="2057400" indent="-228600">
              <a:defRPr sz="1400" b="1">
                <a:solidFill>
                  <a:srgbClr val="000000"/>
                </a:solidFill>
                <a:latin typeface="Arial" pitchFamily="34" charset="0"/>
                <a:ea typeface="맑은 고딕" pitchFamily="50" charset="-127"/>
              </a:defRPr>
            </a:lvl5pPr>
            <a:lvl6pPr marL="2514600" indent="-228600"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pPr>
              <a:lnSpc>
                <a:spcPct val="125000"/>
              </a:lnSpc>
              <a:spcBef>
                <a:spcPct val="100000"/>
              </a:spcBef>
              <a:buFontTx/>
              <a:buAutoNum type="arabicPeriod"/>
            </a:pPr>
            <a:r>
              <a:rPr lang="en-US" altLang="ko-KR" sz="1600" dirty="0" smtClean="0">
                <a:solidFill>
                  <a:schemeClr val="tx1"/>
                </a:solidFill>
                <a:latin typeface="맑은 고딕" pitchFamily="50" charset="-127"/>
              </a:rPr>
              <a:t>[1</a:t>
            </a:r>
            <a:r>
              <a:rPr lang="ko-KR" altLang="en-US" sz="1600" dirty="0" smtClean="0">
                <a:solidFill>
                  <a:schemeClr val="tx1"/>
                </a:solidFill>
                <a:latin typeface="맑은 고딕" pitchFamily="50" charset="-127"/>
              </a:rPr>
              <a:t>단계</a:t>
            </a:r>
            <a:r>
              <a:rPr lang="en-US" altLang="ko-KR" sz="1600" dirty="0" smtClean="0">
                <a:solidFill>
                  <a:schemeClr val="tx1"/>
                </a:solidFill>
                <a:latin typeface="맑은 고딕" pitchFamily="50" charset="-127"/>
              </a:rPr>
              <a:t>] </a:t>
            </a:r>
            <a:r>
              <a:rPr lang="ko-KR" altLang="en-US" sz="1600" dirty="0" smtClean="0">
                <a:solidFill>
                  <a:schemeClr val="tx1"/>
                </a:solidFill>
                <a:latin typeface="맑은 고딕" pitchFamily="50" charset="-127"/>
              </a:rPr>
              <a:t>서비스 예시</a:t>
            </a:r>
            <a:endParaRPr lang="en-US" altLang="ko-KR" sz="1600" dirty="0">
              <a:solidFill>
                <a:schemeClr val="tx1"/>
              </a:solidFill>
              <a:latin typeface="맑은 고딕" pitchFamily="50" charset="-127"/>
            </a:endParaRPr>
          </a:p>
          <a:p>
            <a:pPr>
              <a:lnSpc>
                <a:spcPct val="125000"/>
              </a:lnSpc>
              <a:spcBef>
                <a:spcPct val="100000"/>
              </a:spcBef>
              <a:buFontTx/>
              <a:buAutoNum type="arabicPeriod"/>
            </a:pPr>
            <a:r>
              <a:rPr lang="en-US" altLang="ko-KR" sz="1600" dirty="0" smtClean="0">
                <a:solidFill>
                  <a:schemeClr val="tx1"/>
                </a:solidFill>
                <a:latin typeface="맑은 고딕" pitchFamily="50" charset="-127"/>
              </a:rPr>
              <a:t>[2</a:t>
            </a:r>
            <a:r>
              <a:rPr lang="ko-KR" altLang="en-US" sz="1600" dirty="0" smtClean="0">
                <a:solidFill>
                  <a:schemeClr val="tx1"/>
                </a:solidFill>
                <a:latin typeface="맑은 고딕" pitchFamily="50" charset="-127"/>
              </a:rPr>
              <a:t>단계</a:t>
            </a:r>
            <a:r>
              <a:rPr lang="en-US" altLang="ko-KR" sz="1600" dirty="0" smtClean="0">
                <a:solidFill>
                  <a:schemeClr val="tx1"/>
                </a:solidFill>
                <a:latin typeface="맑은 고딕" pitchFamily="50" charset="-127"/>
              </a:rPr>
              <a:t>] </a:t>
            </a:r>
            <a:r>
              <a:rPr lang="ko-KR" altLang="en-US" sz="1600" dirty="0" smtClean="0">
                <a:solidFill>
                  <a:schemeClr val="tx1"/>
                </a:solidFill>
                <a:latin typeface="맑은 고딕" pitchFamily="50" charset="-127"/>
              </a:rPr>
              <a:t>서비스 예시</a:t>
            </a:r>
            <a:endParaRPr lang="en-US" altLang="ko-KR" sz="1600" dirty="0">
              <a:solidFill>
                <a:schemeClr val="tx1"/>
              </a:solidFill>
              <a:latin typeface="맑은 고딕" pitchFamily="50" charset="-127"/>
            </a:endParaRPr>
          </a:p>
          <a:p>
            <a:pPr>
              <a:lnSpc>
                <a:spcPct val="125000"/>
              </a:lnSpc>
              <a:spcBef>
                <a:spcPct val="100000"/>
              </a:spcBef>
              <a:buFontTx/>
              <a:buAutoNum type="arabicPeriod"/>
            </a:pPr>
            <a:r>
              <a:rPr lang="ko-KR" altLang="en-US" sz="1600" dirty="0" smtClean="0">
                <a:solidFill>
                  <a:schemeClr val="tx1"/>
                </a:solidFill>
                <a:latin typeface="맑은 고딕" pitchFamily="50" charset="-127"/>
              </a:rPr>
              <a:t>아키텍</a:t>
            </a:r>
            <a:r>
              <a:rPr lang="ko-KR" altLang="en-US" sz="1600" dirty="0">
                <a:solidFill>
                  <a:schemeClr val="tx1"/>
                </a:solidFill>
                <a:latin typeface="맑은 고딕" pitchFamily="50" charset="-127"/>
              </a:rPr>
              <a:t>처</a:t>
            </a:r>
            <a:endParaRPr lang="en-US" altLang="ko-KR" sz="1600" dirty="0">
              <a:solidFill>
                <a:schemeClr val="tx1"/>
              </a:solidFill>
              <a:latin typeface="맑은 고딕" pitchFamily="50" charset="-127"/>
            </a:endParaRPr>
          </a:p>
          <a:p>
            <a:pPr>
              <a:lnSpc>
                <a:spcPct val="125000"/>
              </a:lnSpc>
              <a:spcBef>
                <a:spcPct val="100000"/>
              </a:spcBef>
              <a:buFontTx/>
              <a:buAutoNum type="arabicPeriod"/>
            </a:pPr>
            <a:r>
              <a:rPr lang="ko-KR" altLang="en-US" sz="1600" dirty="0" smtClean="0">
                <a:solidFill>
                  <a:schemeClr val="bg1"/>
                </a:solidFill>
                <a:latin typeface="맑은 고딕" pitchFamily="50" charset="-127"/>
              </a:rPr>
              <a:t>일</a:t>
            </a:r>
            <a:r>
              <a:rPr lang="ko-KR" altLang="en-US" sz="1600" dirty="0">
                <a:solidFill>
                  <a:schemeClr val="bg1"/>
                </a:solidFill>
                <a:latin typeface="맑은 고딕" pitchFamily="50" charset="-127"/>
              </a:rPr>
              <a:t>정</a:t>
            </a:r>
            <a:endParaRPr lang="en-US" altLang="ko-KR" sz="1600" dirty="0">
              <a:solidFill>
                <a:schemeClr val="bg1"/>
              </a:solidFill>
              <a:latin typeface="맑은 고딕" pitchFamily="50" charset="-127"/>
            </a:endParaRPr>
          </a:p>
          <a:p>
            <a:pPr>
              <a:lnSpc>
                <a:spcPct val="125000"/>
              </a:lnSpc>
              <a:spcBef>
                <a:spcPct val="100000"/>
              </a:spcBef>
              <a:buFontTx/>
              <a:buAutoNum type="arabicPeriod"/>
            </a:pPr>
            <a:endParaRPr lang="en-US" altLang="ko-KR" sz="1600" dirty="0">
              <a:solidFill>
                <a:schemeClr val="tx1"/>
              </a:solidFill>
              <a:latin typeface="맑은 고딕" pitchFamily="50" charset="-127"/>
            </a:endParaRPr>
          </a:p>
        </p:txBody>
      </p:sp>
    </p:spTree>
    <p:extLst>
      <p:ext uri="{BB962C8B-B14F-4D97-AF65-F5344CB8AC3E}">
        <p14:creationId xmlns:p14="http://schemas.microsoft.com/office/powerpoint/2010/main" val="277908606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3"/>
          <p:cNvSpPr>
            <a:spLocks noChangeArrowheads="1"/>
          </p:cNvSpPr>
          <p:nvPr/>
        </p:nvSpPr>
        <p:spPr bwMode="auto">
          <a:xfrm>
            <a:off x="296863" y="157163"/>
            <a:ext cx="7569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p>
            <a:pPr latinLnBrk="1"/>
            <a:r>
              <a:rPr lang="en-US" altLang="ko-KR" dirty="0" smtClean="0">
                <a:solidFill>
                  <a:schemeClr val="tx2"/>
                </a:solidFill>
                <a:latin typeface="맑은 고딕" pitchFamily="50" charset="-127"/>
              </a:rPr>
              <a:t>4. </a:t>
            </a:r>
            <a:r>
              <a:rPr lang="ko-KR" altLang="en-US" dirty="0" smtClean="0">
                <a:solidFill>
                  <a:schemeClr val="tx2"/>
                </a:solidFill>
                <a:latin typeface="맑은 고딕" pitchFamily="50" charset="-127"/>
              </a:rPr>
              <a:t>일정</a:t>
            </a:r>
            <a:endParaRPr lang="en-US" altLang="ko-KR" dirty="0">
              <a:solidFill>
                <a:schemeClr val="tx2"/>
              </a:solidFill>
              <a:latin typeface="맑은 고딕" pitchFamily="50" charset="-127"/>
            </a:endParaRPr>
          </a:p>
        </p:txBody>
      </p:sp>
      <p:sp>
        <p:nvSpPr>
          <p:cNvPr id="349" name="Rectangle 2"/>
          <p:cNvSpPr txBox="1">
            <a:spLocks noChangeArrowheads="1"/>
          </p:cNvSpPr>
          <p:nvPr/>
        </p:nvSpPr>
        <p:spPr bwMode="auto">
          <a:xfrm>
            <a:off x="296863" y="457200"/>
            <a:ext cx="92741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en-US" altLang="ko-KR" sz="1800" b="0" kern="0" dirty="0" smtClean="0">
                <a:latin typeface="맑은 고딕" panose="020B0503020000020004" pitchFamily="50" charset="-127"/>
              </a:rPr>
              <a:t>TBD</a:t>
            </a:r>
            <a:endParaRPr lang="ko-KR" altLang="en-US" sz="1800" b="0" kern="0" dirty="0">
              <a:latin typeface="맑은 고딕" panose="020B0503020000020004" pitchFamily="50" charset="-127"/>
            </a:endParaRPr>
          </a:p>
        </p:txBody>
      </p:sp>
      <p:sp>
        <p:nvSpPr>
          <p:cNvPr id="30" name="Rectangle 2"/>
          <p:cNvSpPr txBox="1">
            <a:spLocks noChangeArrowheads="1"/>
          </p:cNvSpPr>
          <p:nvPr/>
        </p:nvSpPr>
        <p:spPr bwMode="auto">
          <a:xfrm>
            <a:off x="426720" y="1554479"/>
            <a:ext cx="92741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en-US" altLang="ko-KR" sz="1800" b="0" kern="0" dirty="0" smtClean="0">
                <a:latin typeface="맑은 고딕" panose="020B0503020000020004" pitchFamily="50" charset="-127"/>
              </a:rPr>
              <a:t>TBD</a:t>
            </a:r>
            <a:endParaRPr lang="ko-KR" altLang="en-US" sz="1800" b="0" kern="0" dirty="0">
              <a:latin typeface="맑은 고딕" panose="020B0503020000020004" pitchFamily="50" charset="-127"/>
            </a:endParaRPr>
          </a:p>
        </p:txBody>
      </p:sp>
    </p:spTree>
    <p:extLst>
      <p:ext uri="{BB962C8B-B14F-4D97-AF65-F5344CB8AC3E}">
        <p14:creationId xmlns:p14="http://schemas.microsoft.com/office/powerpoint/2010/main" val="7042904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 xmlns:a16="http://schemas.microsoft.com/office/drawing/2014/main" id="{3EB9B2AF-9E2C-4587-B528-69767859020F}"/>
              </a:ext>
            </a:extLst>
          </p:cNvPr>
          <p:cNvSpPr>
            <a:spLocks noGrp="1"/>
          </p:cNvSpPr>
          <p:nvPr>
            <p:ph idx="13"/>
          </p:nvPr>
        </p:nvSpPr>
        <p:spPr/>
        <p:txBody>
          <a:bodyPr/>
          <a:lstStyle/>
          <a:p>
            <a:r>
              <a:rPr lang="de-DE" b="1" dirty="0" smtClean="0"/>
              <a:t>NFT </a:t>
            </a:r>
            <a:r>
              <a:rPr lang="ko-KR" altLang="en-US" b="1" dirty="0" smtClean="0"/>
              <a:t>임</a:t>
            </a:r>
            <a:r>
              <a:rPr lang="ko-KR" altLang="en-US" b="1" dirty="0"/>
              <a:t>대</a:t>
            </a:r>
            <a:r>
              <a:rPr lang="en-US" altLang="ko-KR" b="1" dirty="0" smtClean="0"/>
              <a:t>, </a:t>
            </a:r>
            <a:r>
              <a:rPr lang="ko-KR" altLang="en-US" b="1" dirty="0" smtClean="0"/>
              <a:t>담보</a:t>
            </a:r>
            <a:endParaRPr lang="de-DE" b="1" dirty="0"/>
          </a:p>
          <a:p>
            <a:r>
              <a:rPr lang="ko-KR" altLang="en-US" dirty="0" smtClean="0"/>
              <a:t>이제는 메타버스에서도 재화를 임대하거나</a:t>
            </a:r>
            <a:endParaRPr lang="en-US" altLang="ko-KR" dirty="0" smtClean="0"/>
          </a:p>
          <a:p>
            <a:r>
              <a:rPr lang="ko-KR" altLang="en-US" dirty="0" smtClean="0"/>
              <a:t>재화를 담보로 다른 재화를 구매하는 시대가 올 것</a:t>
            </a:r>
            <a:endParaRPr lang="de-DE" dirty="0"/>
          </a:p>
        </p:txBody>
      </p:sp>
      <p:sp>
        <p:nvSpPr>
          <p:cNvPr id="10" name="Content Placeholder 9">
            <a:extLst>
              <a:ext uri="{FF2B5EF4-FFF2-40B4-BE49-F238E27FC236}">
                <a16:creationId xmlns="" xmlns:a16="http://schemas.microsoft.com/office/drawing/2014/main" id="{E1849D9E-2F55-4337-820E-7975691F51F0}"/>
              </a:ext>
            </a:extLst>
          </p:cNvPr>
          <p:cNvSpPr>
            <a:spLocks noGrp="1"/>
          </p:cNvSpPr>
          <p:nvPr>
            <p:ph idx="14"/>
          </p:nvPr>
        </p:nvSpPr>
        <p:spPr>
          <a:xfrm>
            <a:off x="7430160" y="3429000"/>
            <a:ext cx="2316501" cy="3429000"/>
          </a:xfrm>
        </p:spPr>
        <p:txBody>
          <a:bodyPr/>
          <a:lstStyle/>
          <a:p>
            <a:r>
              <a:rPr lang="de-DE" b="1" dirty="0" smtClean="0"/>
              <a:t>Metaverse NFT </a:t>
            </a:r>
            <a:r>
              <a:rPr lang="ko-KR" altLang="en-US" b="1" dirty="0" smtClean="0"/>
              <a:t>경제 생태계</a:t>
            </a:r>
          </a:p>
          <a:p>
            <a:r>
              <a:rPr lang="en-US" altLang="ko-KR" dirty="0" smtClean="0"/>
              <a:t>NFT </a:t>
            </a:r>
            <a:r>
              <a:rPr lang="ko-KR" altLang="en-US" dirty="0" smtClean="0"/>
              <a:t>의 활용을 극대화하고 생태계 내 </a:t>
            </a:r>
            <a:r>
              <a:rPr lang="ko-KR" altLang="en-US" dirty="0" err="1" smtClean="0"/>
              <a:t>깐부들과</a:t>
            </a:r>
            <a:r>
              <a:rPr lang="ko-KR" altLang="en-US" dirty="0" smtClean="0"/>
              <a:t> 이익을 공유하는 메타버</a:t>
            </a:r>
            <a:r>
              <a:rPr lang="ko-KR" altLang="en-US" dirty="0"/>
              <a:t>스</a:t>
            </a:r>
            <a:r>
              <a:rPr lang="en-US" altLang="ko-KR" dirty="0" smtClean="0"/>
              <a:t> financial economy </a:t>
            </a:r>
            <a:endParaRPr lang="de-DE" dirty="0"/>
          </a:p>
        </p:txBody>
      </p:sp>
      <p:sp>
        <p:nvSpPr>
          <p:cNvPr id="6" name="Content Placeholder 5">
            <a:extLst>
              <a:ext uri="{FF2B5EF4-FFF2-40B4-BE49-F238E27FC236}">
                <a16:creationId xmlns="" xmlns:a16="http://schemas.microsoft.com/office/drawing/2014/main" id="{D15122B7-D3FD-42D5-A7DD-92BF283E1A3A}"/>
              </a:ext>
            </a:extLst>
          </p:cNvPr>
          <p:cNvSpPr>
            <a:spLocks noGrp="1"/>
          </p:cNvSpPr>
          <p:nvPr>
            <p:ph idx="1"/>
          </p:nvPr>
        </p:nvSpPr>
        <p:spPr/>
        <p:txBody>
          <a:bodyPr/>
          <a:lstStyle/>
          <a:p>
            <a:r>
              <a:rPr lang="de-DE" b="1" dirty="0" smtClean="0"/>
              <a:t>Metaverse NFT</a:t>
            </a:r>
            <a:endParaRPr lang="de-DE" b="1" dirty="0"/>
          </a:p>
          <a:p>
            <a:r>
              <a:rPr lang="ko-KR" altLang="en-US" dirty="0" smtClean="0"/>
              <a:t>너무 비싼 메타버스 </a:t>
            </a:r>
            <a:r>
              <a:rPr lang="en-US" altLang="ko-KR" dirty="0" smtClean="0"/>
              <a:t>NFT,</a:t>
            </a:r>
          </a:p>
          <a:p>
            <a:r>
              <a:rPr lang="ko-KR" altLang="en-US" dirty="0" smtClean="0"/>
              <a:t>나도 사고 싶다</a:t>
            </a:r>
            <a:r>
              <a:rPr lang="en-US" altLang="ko-KR" dirty="0" smtClean="0"/>
              <a:t>!</a:t>
            </a:r>
            <a:endParaRPr lang="de-DE" dirty="0"/>
          </a:p>
          <a:p>
            <a:endParaRPr lang="de-DE" dirty="0"/>
          </a:p>
        </p:txBody>
      </p:sp>
      <p:sp>
        <p:nvSpPr>
          <p:cNvPr id="7" name="Content Placeholder 6">
            <a:extLst>
              <a:ext uri="{FF2B5EF4-FFF2-40B4-BE49-F238E27FC236}">
                <a16:creationId xmlns="" xmlns:a16="http://schemas.microsoft.com/office/drawing/2014/main" id="{4133F4AE-C3B1-4D1C-A12E-FF2A68CEF9B9}"/>
              </a:ext>
            </a:extLst>
          </p:cNvPr>
          <p:cNvSpPr>
            <a:spLocks noGrp="1"/>
          </p:cNvSpPr>
          <p:nvPr>
            <p:ph idx="12"/>
          </p:nvPr>
        </p:nvSpPr>
        <p:spPr/>
        <p:txBody>
          <a:bodyPr/>
          <a:lstStyle/>
          <a:p>
            <a:r>
              <a:rPr lang="ko-KR" altLang="en-US" b="1" dirty="0" smtClean="0"/>
              <a:t>같이 사자</a:t>
            </a:r>
            <a:r>
              <a:rPr lang="en-US" altLang="ko-KR" b="1" dirty="0" smtClean="0"/>
              <a:t>!</a:t>
            </a:r>
            <a:endParaRPr lang="de-DE" dirty="0"/>
          </a:p>
          <a:p>
            <a:r>
              <a:rPr lang="en-US" dirty="0" smtClean="0"/>
              <a:t>NFT </a:t>
            </a:r>
            <a:r>
              <a:rPr lang="ko-KR" altLang="en-US" dirty="0" smtClean="0"/>
              <a:t>를 원하는 사람들끼리 </a:t>
            </a:r>
            <a:r>
              <a:rPr lang="en-US" altLang="ko-KR" dirty="0" smtClean="0"/>
              <a:t>(</a:t>
            </a:r>
            <a:r>
              <a:rPr lang="ko-KR" altLang="en-US" dirty="0" smtClean="0"/>
              <a:t>찐 </a:t>
            </a:r>
            <a:r>
              <a:rPr lang="ko-KR" altLang="en-US" dirty="0" err="1" smtClean="0"/>
              <a:t>깐부</a:t>
            </a:r>
            <a:r>
              <a:rPr lang="en-US" altLang="ko-KR" dirty="0" smtClean="0"/>
              <a:t>) </a:t>
            </a:r>
            <a:r>
              <a:rPr lang="ko-KR" altLang="en-US" dirty="0" smtClean="0"/>
              <a:t>공동명의로 구매</a:t>
            </a:r>
            <a:r>
              <a:rPr lang="en-US" altLang="ko-KR" dirty="0"/>
              <a:t>!</a:t>
            </a:r>
          </a:p>
          <a:p>
            <a:r>
              <a:rPr lang="ko-KR" altLang="en-US" dirty="0" smtClean="0"/>
              <a:t>판매도 스마트하게</a:t>
            </a:r>
            <a:r>
              <a:rPr lang="en-US" altLang="ko-KR" dirty="0" smtClean="0"/>
              <a:t>!</a:t>
            </a:r>
            <a:endParaRPr lang="de-DE" altLang="ko-KR" dirty="0"/>
          </a:p>
          <a:p>
            <a:endParaRPr lang="en-US" altLang="ko-KR" dirty="0" smtClean="0"/>
          </a:p>
        </p:txBody>
      </p:sp>
      <p:sp>
        <p:nvSpPr>
          <p:cNvPr id="4" name="Title 3">
            <a:extLst>
              <a:ext uri="{FF2B5EF4-FFF2-40B4-BE49-F238E27FC236}">
                <a16:creationId xmlns="" xmlns:a16="http://schemas.microsoft.com/office/drawing/2014/main" id="{B65F1CFB-A1E3-4A4E-9E9B-AFB57F237CD1}"/>
              </a:ext>
            </a:extLst>
          </p:cNvPr>
          <p:cNvSpPr>
            <a:spLocks noGrp="1"/>
          </p:cNvSpPr>
          <p:nvPr>
            <p:ph type="title"/>
          </p:nvPr>
        </p:nvSpPr>
        <p:spPr/>
        <p:txBody>
          <a:bodyPr/>
          <a:lstStyle/>
          <a:p>
            <a:r>
              <a:rPr lang="ko-KR" altLang="en-US" dirty="0" smtClean="0"/>
              <a:t>개요</a:t>
            </a:r>
            <a:r>
              <a:rPr lang="en-US" altLang="ko-KR" dirty="0" smtClean="0"/>
              <a:t>, </a:t>
            </a:r>
            <a:r>
              <a:rPr lang="ko-KR" altLang="en-US" dirty="0" smtClean="0"/>
              <a:t>목적 등은 향후에</a:t>
            </a:r>
            <a:r>
              <a:rPr lang="en-US" altLang="ko-KR" dirty="0" smtClean="0"/>
              <a:t>..</a:t>
            </a:r>
            <a:endParaRPr lang="de-DE" dirty="0"/>
          </a:p>
        </p:txBody>
      </p:sp>
      <p:pic>
        <p:nvPicPr>
          <p:cNvPr id="3" name="Picture 2">
            <a:extLst>
              <a:ext uri="{FF2B5EF4-FFF2-40B4-BE49-F238E27FC236}">
                <a16:creationId xmlns="" xmlns:a16="http://schemas.microsoft.com/office/drawing/2014/main" id="{9145DBD3-8EEB-4C96-BE97-EC3DE6359249}"/>
              </a:ext>
            </a:extLst>
          </p:cNvPr>
          <p:cNvPicPr>
            <a:picLocks noChangeAspect="1"/>
          </p:cNvPicPr>
          <p:nvPr/>
        </p:nvPicPr>
        <p:blipFill rotWithShape="1">
          <a:blip r:embed="rId2"/>
          <a:srcRect l="10352" t="13659" r="6826" b="45364"/>
          <a:stretch/>
        </p:blipFill>
        <p:spPr>
          <a:xfrm>
            <a:off x="4953001" y="0"/>
            <a:ext cx="4953001" cy="3429000"/>
          </a:xfrm>
          <a:prstGeom prst="rect">
            <a:avLst/>
          </a:prstGeom>
        </p:spPr>
      </p:pic>
    </p:spTree>
    <p:extLst>
      <p:ext uri="{BB962C8B-B14F-4D97-AF65-F5344CB8AC3E}">
        <p14:creationId xmlns:p14="http://schemas.microsoft.com/office/powerpoint/2010/main" val="6003634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266" name="Rectangle 9"/>
          <p:cNvSpPr>
            <a:spLocks noChangeArrowheads="1"/>
          </p:cNvSpPr>
          <p:nvPr/>
        </p:nvSpPr>
        <p:spPr bwMode="gray">
          <a:xfrm>
            <a:off x="900113" y="2082800"/>
            <a:ext cx="4327525" cy="460375"/>
          </a:xfrm>
          <a:prstGeom prst="rect">
            <a:avLst/>
          </a:prstGeom>
          <a:solidFill>
            <a:srgbClr val="000066"/>
          </a:solidFill>
          <a:ln w="9525" algn="ctr">
            <a:solidFill>
              <a:srgbClr val="000066"/>
            </a:solidFill>
            <a:miter lim="800000"/>
            <a:headEnd/>
            <a:tailEnd/>
          </a:ln>
        </p:spPr>
        <p:txBody>
          <a:bodyPr anchor="ctr"/>
          <a:lstStyle/>
          <a:p>
            <a:pPr defTabSz="957263">
              <a:lnSpc>
                <a:spcPct val="90000"/>
              </a:lnSpc>
            </a:pPr>
            <a:endParaRPr lang="ko-KR" altLang="en-US" sz="1600">
              <a:solidFill>
                <a:schemeClr val="tx1"/>
              </a:solidFill>
              <a:latin typeface="맑은 고딕" pitchFamily="50" charset="-127"/>
            </a:endParaRPr>
          </a:p>
        </p:txBody>
      </p:sp>
      <p:sp>
        <p:nvSpPr>
          <p:cNvPr id="11267" name="Line 8"/>
          <p:cNvSpPr>
            <a:spLocks noChangeShapeType="1"/>
          </p:cNvSpPr>
          <p:nvPr/>
        </p:nvSpPr>
        <p:spPr bwMode="auto">
          <a:xfrm>
            <a:off x="896938" y="1927225"/>
            <a:ext cx="3678237"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wrap="none" lIns="0" tIns="0" rIns="0" bIns="0" anchor="ctr"/>
          <a:lstStyle/>
          <a:p>
            <a:endParaRPr lang="ko-KR" altLang="en-US"/>
          </a:p>
        </p:txBody>
      </p:sp>
      <p:sp>
        <p:nvSpPr>
          <p:cNvPr id="11268" name="Rectangle 9"/>
          <p:cNvSpPr>
            <a:spLocks noChangeArrowheads="1"/>
          </p:cNvSpPr>
          <p:nvPr/>
        </p:nvSpPr>
        <p:spPr bwMode="auto">
          <a:xfrm>
            <a:off x="1076325" y="1530350"/>
            <a:ext cx="457200" cy="2746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999999"/>
                  </a:outerShdw>
                </a:effectLst>
              </a14:hiddenEffects>
            </a:ext>
          </a:extLst>
        </p:spPr>
        <p:txBody>
          <a:bodyPr wrap="none" lIns="0" tIns="0" rIns="0" bIns="0">
            <a:spAutoFit/>
          </a:bodyPr>
          <a:lstStyle/>
          <a:p>
            <a:pPr algn="ctr" eaLnBrk="1" latinLnBrk="1" hangingPunct="1">
              <a:spcBef>
                <a:spcPct val="30000"/>
              </a:spcBef>
            </a:pPr>
            <a:r>
              <a:rPr kumimoji="1" lang="ko-KR" altLang="en-US" sz="1800">
                <a:solidFill>
                  <a:schemeClr val="tx1"/>
                </a:solidFill>
              </a:rPr>
              <a:t>목차</a:t>
            </a:r>
          </a:p>
        </p:txBody>
      </p:sp>
      <p:sp>
        <p:nvSpPr>
          <p:cNvPr id="11269" name="Text Box 4"/>
          <p:cNvSpPr txBox="1">
            <a:spLocks noChangeArrowheads="1"/>
          </p:cNvSpPr>
          <p:nvPr/>
        </p:nvSpPr>
        <p:spPr bwMode="gray">
          <a:xfrm>
            <a:off x="992188" y="2097088"/>
            <a:ext cx="5378450" cy="206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marL="355600" indent="-355600">
              <a:defRPr sz="1400" b="1">
                <a:solidFill>
                  <a:srgbClr val="000000"/>
                </a:solidFill>
                <a:latin typeface="Arial" pitchFamily="34" charset="0"/>
                <a:ea typeface="맑은 고딕" pitchFamily="50" charset="-127"/>
              </a:defRPr>
            </a:lvl1pPr>
            <a:lvl2pPr marL="742950" indent="-285750">
              <a:defRPr sz="1400" b="1">
                <a:solidFill>
                  <a:srgbClr val="000000"/>
                </a:solidFill>
                <a:latin typeface="Arial" pitchFamily="34" charset="0"/>
                <a:ea typeface="맑은 고딕" pitchFamily="50" charset="-127"/>
              </a:defRPr>
            </a:lvl2pPr>
            <a:lvl3pPr marL="1143000" indent="-228600">
              <a:defRPr sz="1400" b="1">
                <a:solidFill>
                  <a:srgbClr val="000000"/>
                </a:solidFill>
                <a:latin typeface="Arial" pitchFamily="34" charset="0"/>
                <a:ea typeface="맑은 고딕" pitchFamily="50" charset="-127"/>
              </a:defRPr>
            </a:lvl3pPr>
            <a:lvl4pPr marL="1600200" indent="-228600">
              <a:defRPr sz="1400" b="1">
                <a:solidFill>
                  <a:srgbClr val="000000"/>
                </a:solidFill>
                <a:latin typeface="Arial" pitchFamily="34" charset="0"/>
                <a:ea typeface="맑은 고딕" pitchFamily="50" charset="-127"/>
              </a:defRPr>
            </a:lvl4pPr>
            <a:lvl5pPr marL="2057400" indent="-228600">
              <a:defRPr sz="1400" b="1">
                <a:solidFill>
                  <a:srgbClr val="000000"/>
                </a:solidFill>
                <a:latin typeface="Arial" pitchFamily="34" charset="0"/>
                <a:ea typeface="맑은 고딕" pitchFamily="50" charset="-127"/>
              </a:defRPr>
            </a:lvl5pPr>
            <a:lvl6pPr marL="2514600" indent="-228600"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pPr>
              <a:lnSpc>
                <a:spcPct val="125000"/>
              </a:lnSpc>
              <a:spcBef>
                <a:spcPct val="100000"/>
              </a:spcBef>
              <a:buFontTx/>
              <a:buAutoNum type="arabicPeriod"/>
            </a:pPr>
            <a:r>
              <a:rPr lang="en-US" altLang="ko-KR" sz="1600" dirty="0" smtClean="0">
                <a:solidFill>
                  <a:schemeClr val="bg1"/>
                </a:solidFill>
                <a:latin typeface="맑은 고딕" pitchFamily="50" charset="-127"/>
              </a:rPr>
              <a:t>[1</a:t>
            </a:r>
            <a:r>
              <a:rPr lang="ko-KR" altLang="en-US" sz="1600" dirty="0" smtClean="0">
                <a:solidFill>
                  <a:schemeClr val="bg1"/>
                </a:solidFill>
                <a:latin typeface="맑은 고딕" pitchFamily="50" charset="-127"/>
              </a:rPr>
              <a:t>단계</a:t>
            </a:r>
            <a:r>
              <a:rPr lang="en-US" altLang="ko-KR" sz="1600" dirty="0" smtClean="0">
                <a:solidFill>
                  <a:schemeClr val="bg1"/>
                </a:solidFill>
                <a:latin typeface="맑은 고딕" pitchFamily="50" charset="-127"/>
              </a:rPr>
              <a:t>] </a:t>
            </a:r>
            <a:r>
              <a:rPr lang="ko-KR" altLang="en-US" sz="1600" dirty="0" smtClean="0">
                <a:solidFill>
                  <a:schemeClr val="bg1"/>
                </a:solidFill>
                <a:latin typeface="맑은 고딕" pitchFamily="50" charset="-127"/>
              </a:rPr>
              <a:t>서비</a:t>
            </a:r>
            <a:r>
              <a:rPr lang="ko-KR" altLang="en-US" sz="1600" dirty="0">
                <a:solidFill>
                  <a:schemeClr val="bg1"/>
                </a:solidFill>
                <a:latin typeface="맑은 고딕" pitchFamily="50" charset="-127"/>
              </a:rPr>
              <a:t>스</a:t>
            </a:r>
            <a:r>
              <a:rPr lang="ko-KR" altLang="en-US" sz="1600" dirty="0" smtClean="0">
                <a:solidFill>
                  <a:schemeClr val="bg1"/>
                </a:solidFill>
                <a:latin typeface="맑은 고딕" pitchFamily="50" charset="-127"/>
              </a:rPr>
              <a:t> 예시</a:t>
            </a:r>
            <a:endParaRPr lang="en-US" altLang="ko-KR" sz="1600" dirty="0">
              <a:solidFill>
                <a:schemeClr val="tx1"/>
              </a:solidFill>
              <a:latin typeface="맑은 고딕" pitchFamily="50" charset="-127"/>
            </a:endParaRPr>
          </a:p>
          <a:p>
            <a:pPr>
              <a:lnSpc>
                <a:spcPct val="125000"/>
              </a:lnSpc>
              <a:spcBef>
                <a:spcPct val="100000"/>
              </a:spcBef>
              <a:buFontTx/>
              <a:buAutoNum type="arabicPeriod"/>
            </a:pPr>
            <a:r>
              <a:rPr lang="en-US" altLang="ko-KR" sz="1600" dirty="0" smtClean="0">
                <a:solidFill>
                  <a:schemeClr val="tx1"/>
                </a:solidFill>
                <a:latin typeface="맑은 고딕" pitchFamily="50" charset="-127"/>
              </a:rPr>
              <a:t>[2</a:t>
            </a:r>
            <a:r>
              <a:rPr lang="ko-KR" altLang="en-US" sz="1600" dirty="0" smtClean="0">
                <a:solidFill>
                  <a:schemeClr val="tx1"/>
                </a:solidFill>
                <a:latin typeface="맑은 고딕" pitchFamily="50" charset="-127"/>
              </a:rPr>
              <a:t>단계</a:t>
            </a:r>
            <a:r>
              <a:rPr lang="en-US" altLang="ko-KR" sz="1600" dirty="0" smtClean="0">
                <a:solidFill>
                  <a:schemeClr val="tx1"/>
                </a:solidFill>
                <a:latin typeface="맑은 고딕" pitchFamily="50" charset="-127"/>
              </a:rPr>
              <a:t>] </a:t>
            </a:r>
            <a:r>
              <a:rPr lang="ko-KR" altLang="en-US" sz="1600" dirty="0" smtClean="0">
                <a:solidFill>
                  <a:schemeClr val="tx1"/>
                </a:solidFill>
                <a:latin typeface="맑은 고딕" pitchFamily="50" charset="-127"/>
              </a:rPr>
              <a:t>서비스 예시</a:t>
            </a:r>
            <a:endParaRPr lang="en-US" altLang="ko-KR" sz="1600" dirty="0">
              <a:solidFill>
                <a:schemeClr val="tx1"/>
              </a:solidFill>
              <a:latin typeface="맑은 고딕" pitchFamily="50" charset="-127"/>
            </a:endParaRPr>
          </a:p>
          <a:p>
            <a:pPr>
              <a:lnSpc>
                <a:spcPct val="125000"/>
              </a:lnSpc>
              <a:spcBef>
                <a:spcPct val="100000"/>
              </a:spcBef>
              <a:buFontTx/>
              <a:buAutoNum type="arabicPeriod"/>
            </a:pPr>
            <a:r>
              <a:rPr lang="ko-KR" altLang="en-US" sz="1600" dirty="0" smtClean="0">
                <a:solidFill>
                  <a:schemeClr val="tx1"/>
                </a:solidFill>
                <a:latin typeface="맑은 고딕" pitchFamily="50" charset="-127"/>
              </a:rPr>
              <a:t>아키텍</a:t>
            </a:r>
            <a:r>
              <a:rPr lang="ko-KR" altLang="en-US" sz="1600" dirty="0">
                <a:solidFill>
                  <a:schemeClr val="tx1"/>
                </a:solidFill>
                <a:latin typeface="맑은 고딕" pitchFamily="50" charset="-127"/>
              </a:rPr>
              <a:t>처</a:t>
            </a:r>
            <a:endParaRPr lang="en-US" altLang="ko-KR" sz="1600" dirty="0">
              <a:solidFill>
                <a:schemeClr val="tx1"/>
              </a:solidFill>
              <a:latin typeface="맑은 고딕" pitchFamily="50" charset="-127"/>
            </a:endParaRPr>
          </a:p>
          <a:p>
            <a:pPr>
              <a:lnSpc>
                <a:spcPct val="125000"/>
              </a:lnSpc>
              <a:spcBef>
                <a:spcPct val="100000"/>
              </a:spcBef>
              <a:buFontTx/>
              <a:buAutoNum type="arabicPeriod"/>
            </a:pPr>
            <a:r>
              <a:rPr lang="ko-KR" altLang="en-US" sz="1600" dirty="0" smtClean="0">
                <a:solidFill>
                  <a:schemeClr val="tx1"/>
                </a:solidFill>
                <a:latin typeface="맑은 고딕" pitchFamily="50" charset="-127"/>
              </a:rPr>
              <a:t>일</a:t>
            </a:r>
            <a:r>
              <a:rPr lang="ko-KR" altLang="en-US" sz="1600" dirty="0">
                <a:solidFill>
                  <a:schemeClr val="tx1"/>
                </a:solidFill>
                <a:latin typeface="맑은 고딕" pitchFamily="50" charset="-127"/>
              </a:rPr>
              <a:t>정</a:t>
            </a:r>
            <a:endParaRPr lang="en-US" altLang="ko-KR" sz="1600" dirty="0">
              <a:solidFill>
                <a:schemeClr val="tx1"/>
              </a:solidFill>
              <a:latin typeface="맑은 고딕" pitchFamily="50" charset="-127"/>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3"/>
          <p:cNvSpPr>
            <a:spLocks noChangeArrowheads="1"/>
          </p:cNvSpPr>
          <p:nvPr/>
        </p:nvSpPr>
        <p:spPr bwMode="auto">
          <a:xfrm>
            <a:off x="296863" y="157163"/>
            <a:ext cx="21387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p>
            <a:pPr latinLnBrk="1"/>
            <a:r>
              <a:rPr lang="en-US" altLang="ko-KR" dirty="0" smtClean="0">
                <a:solidFill>
                  <a:schemeClr val="tx2"/>
                </a:solidFill>
                <a:latin typeface="맑은 고딕" pitchFamily="50" charset="-127"/>
              </a:rPr>
              <a:t>1. </a:t>
            </a:r>
            <a:r>
              <a:rPr lang="ko-KR" altLang="en-US" dirty="0" smtClean="0">
                <a:solidFill>
                  <a:schemeClr val="tx2"/>
                </a:solidFill>
                <a:latin typeface="맑은 고딕" pitchFamily="50" charset="-127"/>
              </a:rPr>
              <a:t>서비스 </a:t>
            </a:r>
            <a:r>
              <a:rPr lang="ko-KR" altLang="en-US" dirty="0" err="1" smtClean="0">
                <a:solidFill>
                  <a:schemeClr val="tx2"/>
                </a:solidFill>
                <a:latin typeface="맑은 고딕" pitchFamily="50" charset="-127"/>
              </a:rPr>
              <a:t>콤포넌</a:t>
            </a:r>
            <a:r>
              <a:rPr lang="ko-KR" altLang="en-US" dirty="0" err="1">
                <a:solidFill>
                  <a:schemeClr val="tx2"/>
                </a:solidFill>
                <a:latin typeface="맑은 고딕" pitchFamily="50" charset="-127"/>
              </a:rPr>
              <a:t>트</a:t>
            </a:r>
            <a:r>
              <a:rPr lang="ko-KR" altLang="en-US" dirty="0" smtClean="0">
                <a:solidFill>
                  <a:schemeClr val="tx2"/>
                </a:solidFill>
                <a:latin typeface="맑은 고딕" pitchFamily="50" charset="-127"/>
              </a:rPr>
              <a:t> 예시</a:t>
            </a:r>
            <a:endParaRPr lang="en-US" altLang="ko-KR" dirty="0">
              <a:solidFill>
                <a:schemeClr val="tx2"/>
              </a:solidFill>
              <a:latin typeface="맑은 고딕" pitchFamily="50" charset="-127"/>
            </a:endParaRPr>
          </a:p>
        </p:txBody>
      </p:sp>
      <p:sp>
        <p:nvSpPr>
          <p:cNvPr id="349" name="Rectangle 2"/>
          <p:cNvSpPr txBox="1">
            <a:spLocks noChangeArrowheads="1"/>
          </p:cNvSpPr>
          <p:nvPr/>
        </p:nvSpPr>
        <p:spPr bwMode="auto">
          <a:xfrm>
            <a:off x="296863" y="457200"/>
            <a:ext cx="92741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err="1" smtClean="0">
                <a:latin typeface="맑은 고딕" panose="020B0503020000020004" pitchFamily="50" charset="-127"/>
              </a:rPr>
              <a:t>예시임니다</a:t>
            </a:r>
            <a:r>
              <a:rPr lang="en-US" altLang="ko-KR" sz="1800" b="0" kern="0" dirty="0" smtClean="0">
                <a:latin typeface="맑은 고딕" panose="020B0503020000020004" pitchFamily="50" charset="-127"/>
              </a:rPr>
              <a:t>..</a:t>
            </a:r>
            <a:endParaRPr lang="ko-KR" altLang="en-US" sz="1800" b="0" kern="0" dirty="0">
              <a:latin typeface="맑은 고딕" panose="020B0503020000020004" pitchFamily="50" charset="-127"/>
            </a:endParaRPr>
          </a:p>
        </p:txBody>
      </p:sp>
      <p:cxnSp>
        <p:nvCxnSpPr>
          <p:cNvPr id="389" name="AutoShape 30"/>
          <p:cNvCxnSpPr>
            <a:cxnSpLocks noChangeShapeType="1"/>
          </p:cNvCxnSpPr>
          <p:nvPr/>
        </p:nvCxnSpPr>
        <p:spPr bwMode="gray">
          <a:xfrm flipV="1">
            <a:off x="2860499" y="732631"/>
            <a:ext cx="0" cy="360363"/>
          </a:xfrm>
          <a:prstGeom prst="straightConnector1">
            <a:avLst/>
          </a:prstGeom>
          <a:noFill/>
          <a:ln w="9525">
            <a:solidFill>
              <a:schemeClr val="bg1">
                <a:lumMod val="50000"/>
              </a:schemeClr>
            </a:solidFill>
            <a:round/>
            <a:headEnd/>
            <a:tailEnd type="triangle" w="med" len="med"/>
          </a:ln>
          <a:effectLst/>
        </p:spPr>
      </p:cxnSp>
      <p:sp>
        <p:nvSpPr>
          <p:cNvPr id="19472" name="Text Box 8"/>
          <p:cNvSpPr txBox="1">
            <a:spLocks noChangeArrowheads="1"/>
          </p:cNvSpPr>
          <p:nvPr/>
        </p:nvSpPr>
        <p:spPr bwMode="gray">
          <a:xfrm>
            <a:off x="330024" y="4963794"/>
            <a:ext cx="2530475" cy="39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488" tIns="44450" rIns="90488" bIns="44450">
            <a:spAutoFit/>
          </a:bodyPr>
          <a:lstStyle>
            <a:lvl1pPr marL="85725" indent="-85725">
              <a:defRPr sz="1400" b="1">
                <a:solidFill>
                  <a:srgbClr val="000000"/>
                </a:solidFill>
                <a:latin typeface="Arial" pitchFamily="34" charset="0"/>
                <a:ea typeface="맑은 고딕" pitchFamily="50" charset="-127"/>
              </a:defRPr>
            </a:lvl1pPr>
            <a:lvl2pPr marL="742950" indent="-285750">
              <a:defRPr sz="1400" b="1">
                <a:solidFill>
                  <a:srgbClr val="000000"/>
                </a:solidFill>
                <a:latin typeface="Arial" pitchFamily="34" charset="0"/>
                <a:ea typeface="맑은 고딕" pitchFamily="50" charset="-127"/>
              </a:defRPr>
            </a:lvl2pPr>
            <a:lvl3pPr marL="1143000" indent="-228600">
              <a:defRPr sz="1400" b="1">
                <a:solidFill>
                  <a:srgbClr val="000000"/>
                </a:solidFill>
                <a:latin typeface="Arial" pitchFamily="34" charset="0"/>
                <a:ea typeface="맑은 고딕" pitchFamily="50" charset="-127"/>
              </a:defRPr>
            </a:lvl3pPr>
            <a:lvl4pPr marL="1600200" indent="-228600">
              <a:defRPr sz="1400" b="1">
                <a:solidFill>
                  <a:srgbClr val="000000"/>
                </a:solidFill>
                <a:latin typeface="Arial" pitchFamily="34" charset="0"/>
                <a:ea typeface="맑은 고딕" pitchFamily="50" charset="-127"/>
              </a:defRPr>
            </a:lvl4pPr>
            <a:lvl5pPr marL="2057400" indent="-228600">
              <a:defRPr sz="1400" b="1">
                <a:solidFill>
                  <a:srgbClr val="000000"/>
                </a:solidFill>
                <a:latin typeface="Arial" pitchFamily="34" charset="0"/>
                <a:ea typeface="맑은 고딕" pitchFamily="50" charset="-127"/>
              </a:defRPr>
            </a:lvl5pPr>
            <a:lvl6pPr marL="2514600" indent="-228600" eaLnBrk="0" fontAlgn="base" hangingPunct="0">
              <a:spcBef>
                <a:spcPct val="0"/>
              </a:spcBef>
              <a:spcAft>
                <a:spcPct val="0"/>
              </a:spcAft>
              <a:defRPr sz="1400" b="1">
                <a:solidFill>
                  <a:srgbClr val="000000"/>
                </a:solidFill>
                <a:latin typeface="Arial" pitchFamily="34" charset="0"/>
                <a:ea typeface="맑은 고딕" pitchFamily="50" charset="-127"/>
              </a:defRPr>
            </a:lvl6pPr>
            <a:lvl7pPr marL="2971800" indent="-228600" eaLnBrk="0" fontAlgn="base" hangingPunct="0">
              <a:spcBef>
                <a:spcPct val="0"/>
              </a:spcBef>
              <a:spcAft>
                <a:spcPct val="0"/>
              </a:spcAft>
              <a:defRPr sz="1400" b="1">
                <a:solidFill>
                  <a:srgbClr val="000000"/>
                </a:solidFill>
                <a:latin typeface="Arial" pitchFamily="34" charset="0"/>
                <a:ea typeface="맑은 고딕" pitchFamily="50" charset="-127"/>
              </a:defRPr>
            </a:lvl7pPr>
            <a:lvl8pPr marL="3429000" indent="-228600" eaLnBrk="0" fontAlgn="base" hangingPunct="0">
              <a:spcBef>
                <a:spcPct val="0"/>
              </a:spcBef>
              <a:spcAft>
                <a:spcPct val="0"/>
              </a:spcAft>
              <a:defRPr sz="1400" b="1">
                <a:solidFill>
                  <a:srgbClr val="000000"/>
                </a:solidFill>
                <a:latin typeface="Arial" pitchFamily="34" charset="0"/>
                <a:ea typeface="맑은 고딕" pitchFamily="50" charset="-127"/>
              </a:defRPr>
            </a:lvl8pPr>
            <a:lvl9pPr marL="3886200" indent="-228600" eaLnBrk="0" fontAlgn="base" hangingPunct="0">
              <a:spcBef>
                <a:spcPct val="0"/>
              </a:spcBef>
              <a:spcAft>
                <a:spcPct val="0"/>
              </a:spcAft>
              <a:defRPr sz="1400" b="1">
                <a:solidFill>
                  <a:srgbClr val="000000"/>
                </a:solidFill>
                <a:latin typeface="Arial" pitchFamily="34" charset="0"/>
                <a:ea typeface="맑은 고딕" pitchFamily="50" charset="-127"/>
              </a:defRPr>
            </a:lvl9pPr>
          </a:lstStyle>
          <a:p>
            <a:pPr>
              <a:spcBef>
                <a:spcPct val="50000"/>
              </a:spcBef>
            </a:pPr>
            <a:r>
              <a:rPr lang="en-US" altLang="ko-KR" sz="2000" dirty="0" smtClean="0">
                <a:solidFill>
                  <a:srgbClr val="000066"/>
                </a:solidFill>
                <a:latin typeface="맑은 고딕" pitchFamily="50" charset="-127"/>
              </a:rPr>
              <a:t>[1 </a:t>
            </a:r>
            <a:r>
              <a:rPr lang="ko-KR" altLang="en-US" sz="2000" dirty="0" smtClean="0">
                <a:solidFill>
                  <a:srgbClr val="000066"/>
                </a:solidFill>
                <a:latin typeface="맑은 고딕" pitchFamily="50" charset="-127"/>
              </a:rPr>
              <a:t>단계</a:t>
            </a:r>
            <a:r>
              <a:rPr lang="en-US" altLang="ko-KR" sz="2000" dirty="0" smtClean="0">
                <a:solidFill>
                  <a:srgbClr val="000066"/>
                </a:solidFill>
                <a:latin typeface="맑은 고딕" pitchFamily="50" charset="-127"/>
              </a:rPr>
              <a:t>]</a:t>
            </a:r>
            <a:endParaRPr lang="en-US" altLang="ko-KR" sz="2000" dirty="0">
              <a:solidFill>
                <a:srgbClr val="000066"/>
              </a:solidFill>
              <a:latin typeface="맑은 고딕" pitchFamily="50" charset="-127"/>
            </a:endParaRPr>
          </a:p>
        </p:txBody>
      </p:sp>
      <p:cxnSp>
        <p:nvCxnSpPr>
          <p:cNvPr id="428" name="AutoShape 17"/>
          <p:cNvCxnSpPr>
            <a:cxnSpLocks noChangeShapeType="1"/>
          </p:cNvCxnSpPr>
          <p:nvPr/>
        </p:nvCxnSpPr>
        <p:spPr bwMode="gray">
          <a:xfrm rot="5400000" flipH="1" flipV="1">
            <a:off x="4163883" y="80168"/>
            <a:ext cx="354012" cy="1216025"/>
          </a:xfrm>
          <a:prstGeom prst="bentConnector2">
            <a:avLst/>
          </a:prstGeom>
          <a:noFill/>
          <a:ln w="9525">
            <a:solidFill>
              <a:schemeClr val="bg1">
                <a:lumMod val="50000"/>
              </a:schemeClr>
            </a:solidFill>
            <a:miter lim="800000"/>
            <a:headEnd/>
            <a:tailEnd type="triangle" w="med" len="med"/>
          </a:ln>
          <a:effectLst/>
        </p:spPr>
      </p:cxnSp>
      <p:cxnSp>
        <p:nvCxnSpPr>
          <p:cNvPr id="19478" name="AutoShape 18"/>
          <p:cNvCxnSpPr>
            <a:cxnSpLocks noChangeShapeType="1"/>
          </p:cNvCxnSpPr>
          <p:nvPr/>
        </p:nvCxnSpPr>
        <p:spPr bwMode="gray">
          <a:xfrm>
            <a:off x="5681663" y="3438525"/>
            <a:ext cx="328612" cy="0"/>
          </a:xfrm>
          <a:prstGeom prst="straightConnector1">
            <a:avLst/>
          </a:prstGeom>
          <a:noFill/>
          <a:ln w="9525">
            <a:solidFill>
              <a:schemeClr val="bg2"/>
            </a:solidFill>
            <a:round/>
            <a:headEnd/>
            <a:tailEnd type="triangle" w="med" len="med"/>
          </a:ln>
          <a:extLst>
            <a:ext uri="{909E8E84-426E-40DD-AFC4-6F175D3DCCD1}">
              <a14:hiddenFill xmlns:a14="http://schemas.microsoft.com/office/drawing/2010/main">
                <a:noFill/>
              </a14:hiddenFill>
            </a:ext>
          </a:extLst>
        </p:spPr>
      </p:cxnSp>
      <p:cxnSp>
        <p:nvCxnSpPr>
          <p:cNvPr id="442" name="AutoShape 31"/>
          <p:cNvCxnSpPr>
            <a:cxnSpLocks noChangeShapeType="1"/>
          </p:cNvCxnSpPr>
          <p:nvPr/>
        </p:nvCxnSpPr>
        <p:spPr bwMode="gray">
          <a:xfrm>
            <a:off x="3232150" y="912812"/>
            <a:ext cx="390525" cy="4762"/>
          </a:xfrm>
          <a:prstGeom prst="bentConnector3">
            <a:avLst>
              <a:gd name="adj1" fmla="val 50000"/>
            </a:avLst>
          </a:prstGeom>
          <a:noFill/>
          <a:ln w="9525">
            <a:solidFill>
              <a:schemeClr val="bg1">
                <a:lumMod val="50000"/>
              </a:schemeClr>
            </a:solidFill>
            <a:miter lim="800000"/>
            <a:headEnd/>
            <a:tailEnd type="triangle" w="med" len="med"/>
          </a:ln>
          <a:effectLst/>
        </p:spPr>
      </p:cxnSp>
      <p:sp>
        <p:nvSpPr>
          <p:cNvPr id="19486" name="Rectangle 12"/>
          <p:cNvSpPr>
            <a:spLocks noChangeArrowheads="1"/>
          </p:cNvSpPr>
          <p:nvPr/>
        </p:nvSpPr>
        <p:spPr bwMode="auto">
          <a:xfrm>
            <a:off x="2997200" y="2784822"/>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일반 구매 요청</a:t>
            </a:r>
            <a:endParaRPr lang="en-US" altLang="ko-KR" sz="1200" dirty="0" smtClean="0">
              <a:latin typeface="맑은 고딕" pitchFamily="50" charset="-127"/>
            </a:endParaRPr>
          </a:p>
          <a:p>
            <a:pPr algn="ctr">
              <a:lnSpc>
                <a:spcPct val="110000"/>
              </a:lnSpc>
            </a:pPr>
            <a:r>
              <a:rPr lang="en-US" altLang="ko-KR" sz="1200" dirty="0" smtClean="0">
                <a:latin typeface="맑은 고딕" pitchFamily="50" charset="-127"/>
              </a:rPr>
              <a:t>(</a:t>
            </a:r>
            <a:r>
              <a:rPr lang="en-US" altLang="ko-KR" sz="1200" dirty="0" err="1" smtClean="0">
                <a:latin typeface="맑은 고딕" pitchFamily="50" charset="-127"/>
              </a:rPr>
              <a:t>opensea</a:t>
            </a:r>
            <a:r>
              <a:rPr lang="en-US" altLang="ko-KR" sz="1200" dirty="0" smtClean="0">
                <a:latin typeface="맑은 고딕" pitchFamily="50" charset="-127"/>
              </a:rPr>
              <a:t> </a:t>
            </a:r>
            <a:r>
              <a:rPr lang="ko-KR" altLang="en-US" sz="1200" dirty="0" smtClean="0">
                <a:latin typeface="맑은 고딕" pitchFamily="50" charset="-127"/>
              </a:rPr>
              <a:t>동일</a:t>
            </a:r>
            <a:r>
              <a:rPr lang="en-US" altLang="ko-KR" sz="1200" dirty="0" smtClean="0">
                <a:latin typeface="맑은 고딕" pitchFamily="50" charset="-127"/>
              </a:rPr>
              <a:t>)</a:t>
            </a:r>
          </a:p>
        </p:txBody>
      </p:sp>
      <p:sp>
        <p:nvSpPr>
          <p:cNvPr id="36" name="Rectangle 12"/>
          <p:cNvSpPr>
            <a:spLocks noChangeArrowheads="1"/>
          </p:cNvSpPr>
          <p:nvPr/>
        </p:nvSpPr>
        <p:spPr bwMode="auto">
          <a:xfrm>
            <a:off x="426084" y="1499393"/>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로그</a:t>
            </a:r>
            <a:r>
              <a:rPr lang="ko-KR" altLang="en-US" sz="1200" dirty="0">
                <a:latin typeface="맑은 고딕" pitchFamily="50" charset="-127"/>
              </a:rPr>
              <a:t>인</a:t>
            </a:r>
          </a:p>
        </p:txBody>
      </p:sp>
      <p:sp>
        <p:nvSpPr>
          <p:cNvPr id="38" name="Rectangle 12"/>
          <p:cNvSpPr>
            <a:spLocks noChangeArrowheads="1"/>
          </p:cNvSpPr>
          <p:nvPr/>
        </p:nvSpPr>
        <p:spPr bwMode="auto">
          <a:xfrm>
            <a:off x="426081" y="2858395"/>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지갑생성</a:t>
            </a:r>
            <a:endParaRPr lang="ko-KR" altLang="en-US" sz="1200" dirty="0">
              <a:latin typeface="맑은 고딕" pitchFamily="50" charset="-127"/>
            </a:endParaRPr>
          </a:p>
        </p:txBody>
      </p:sp>
      <p:sp>
        <p:nvSpPr>
          <p:cNvPr id="39" name="Rectangle 12"/>
          <p:cNvSpPr>
            <a:spLocks noChangeArrowheads="1"/>
          </p:cNvSpPr>
          <p:nvPr/>
        </p:nvSpPr>
        <p:spPr bwMode="auto">
          <a:xfrm>
            <a:off x="426084" y="3477160"/>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로그아웃</a:t>
            </a:r>
            <a:endParaRPr lang="ko-KR" altLang="en-US" sz="1200" dirty="0">
              <a:latin typeface="맑은 고딕" pitchFamily="50" charset="-127"/>
            </a:endParaRPr>
          </a:p>
        </p:txBody>
      </p:sp>
      <p:cxnSp>
        <p:nvCxnSpPr>
          <p:cNvPr id="378" name="AutoShape 30"/>
          <p:cNvCxnSpPr>
            <a:cxnSpLocks noChangeShapeType="1"/>
            <a:stCxn id="36" idx="2"/>
          </p:cNvCxnSpPr>
          <p:nvPr/>
        </p:nvCxnSpPr>
        <p:spPr bwMode="gray">
          <a:xfrm flipH="1">
            <a:off x="1001551" y="2005806"/>
            <a:ext cx="2" cy="188754"/>
          </a:xfrm>
          <a:prstGeom prst="straightConnector1">
            <a:avLst/>
          </a:prstGeom>
          <a:noFill/>
          <a:ln w="9525">
            <a:solidFill>
              <a:schemeClr val="bg1">
                <a:lumMod val="50000"/>
              </a:schemeClr>
            </a:solidFill>
            <a:round/>
            <a:headEnd/>
            <a:tailEnd type="triangle" w="med" len="med"/>
          </a:ln>
          <a:effectLst/>
        </p:spPr>
      </p:cxnSp>
      <p:cxnSp>
        <p:nvCxnSpPr>
          <p:cNvPr id="43" name="AutoShape 30"/>
          <p:cNvCxnSpPr>
            <a:cxnSpLocks noChangeShapeType="1"/>
          </p:cNvCxnSpPr>
          <p:nvPr/>
        </p:nvCxnSpPr>
        <p:spPr bwMode="gray">
          <a:xfrm flipH="1">
            <a:off x="2294755" y="998617"/>
            <a:ext cx="2" cy="188754"/>
          </a:xfrm>
          <a:prstGeom prst="straightConnector1">
            <a:avLst/>
          </a:prstGeom>
          <a:noFill/>
          <a:ln w="9525">
            <a:solidFill>
              <a:schemeClr val="bg1">
                <a:lumMod val="50000"/>
              </a:schemeClr>
            </a:solidFill>
            <a:round/>
            <a:headEnd/>
            <a:tailEnd type="triangle" w="med" len="med"/>
          </a:ln>
          <a:effectLst/>
        </p:spPr>
      </p:cxnSp>
      <p:cxnSp>
        <p:nvCxnSpPr>
          <p:cNvPr id="44" name="AutoShape 30"/>
          <p:cNvCxnSpPr>
            <a:cxnSpLocks noChangeShapeType="1"/>
          </p:cNvCxnSpPr>
          <p:nvPr/>
        </p:nvCxnSpPr>
        <p:spPr bwMode="gray">
          <a:xfrm flipH="1">
            <a:off x="983405" y="2692494"/>
            <a:ext cx="2" cy="188754"/>
          </a:xfrm>
          <a:prstGeom prst="straightConnector1">
            <a:avLst/>
          </a:prstGeom>
          <a:noFill/>
          <a:ln w="9525">
            <a:solidFill>
              <a:schemeClr val="bg1">
                <a:lumMod val="50000"/>
              </a:schemeClr>
            </a:solidFill>
            <a:round/>
            <a:headEnd/>
            <a:tailEnd type="triangle" w="med" len="med"/>
          </a:ln>
          <a:effectLst/>
        </p:spPr>
      </p:cxnSp>
      <p:cxnSp>
        <p:nvCxnSpPr>
          <p:cNvPr id="47" name="AutoShape 31"/>
          <p:cNvCxnSpPr>
            <a:cxnSpLocks noChangeShapeType="1"/>
          </p:cNvCxnSpPr>
          <p:nvPr/>
        </p:nvCxnSpPr>
        <p:spPr bwMode="gray">
          <a:xfrm>
            <a:off x="1590469" y="1760912"/>
            <a:ext cx="130177" cy="1"/>
          </a:xfrm>
          <a:prstGeom prst="bentConnector3">
            <a:avLst>
              <a:gd name="adj1" fmla="val 50000"/>
            </a:avLst>
          </a:prstGeom>
          <a:noFill/>
          <a:ln w="9525">
            <a:solidFill>
              <a:schemeClr val="bg1">
                <a:lumMod val="50000"/>
              </a:schemeClr>
            </a:solidFill>
            <a:miter lim="800000"/>
            <a:headEnd/>
            <a:tailEnd type="triangle" w="med" len="med"/>
          </a:ln>
          <a:effectLst/>
        </p:spPr>
      </p:cxnSp>
      <p:cxnSp>
        <p:nvCxnSpPr>
          <p:cNvPr id="49" name="AutoShape 17"/>
          <p:cNvCxnSpPr>
            <a:cxnSpLocks noChangeShapeType="1"/>
            <a:stCxn id="38" idx="3"/>
          </p:cNvCxnSpPr>
          <p:nvPr/>
        </p:nvCxnSpPr>
        <p:spPr bwMode="gray">
          <a:xfrm flipV="1">
            <a:off x="1577018" y="2022792"/>
            <a:ext cx="359548" cy="1088810"/>
          </a:xfrm>
          <a:prstGeom prst="bentConnector2">
            <a:avLst/>
          </a:prstGeom>
          <a:noFill/>
          <a:ln w="9525">
            <a:solidFill>
              <a:schemeClr val="bg1">
                <a:lumMod val="50000"/>
              </a:schemeClr>
            </a:solidFill>
            <a:miter lim="800000"/>
            <a:headEnd/>
            <a:tailEnd type="triangle" w="med" len="med"/>
          </a:ln>
          <a:effectLst/>
        </p:spPr>
      </p:cxnSp>
      <p:sp>
        <p:nvSpPr>
          <p:cNvPr id="54" name="Rectangle 12"/>
          <p:cNvSpPr>
            <a:spLocks noChangeArrowheads="1"/>
          </p:cNvSpPr>
          <p:nvPr/>
        </p:nvSpPr>
        <p:spPr bwMode="auto">
          <a:xfrm>
            <a:off x="420542" y="2171065"/>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회원가입</a:t>
            </a:r>
            <a:endParaRPr lang="ko-KR" altLang="en-US" sz="1200" dirty="0">
              <a:latin typeface="맑은 고딕" pitchFamily="50" charset="-127"/>
            </a:endParaRPr>
          </a:p>
        </p:txBody>
      </p:sp>
      <p:sp>
        <p:nvSpPr>
          <p:cNvPr id="55" name="Rectangle 12"/>
          <p:cNvSpPr>
            <a:spLocks noChangeArrowheads="1"/>
          </p:cNvSpPr>
          <p:nvPr/>
        </p:nvSpPr>
        <p:spPr bwMode="auto">
          <a:xfrm>
            <a:off x="1729421" y="1492523"/>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ko-KR" altLang="en-US" sz="1200" dirty="0" err="1" smtClean="0">
                <a:latin typeface="맑은 고딕" pitchFamily="50" charset="-127"/>
              </a:rPr>
              <a:t>메인화면</a:t>
            </a:r>
            <a:endParaRPr lang="ko-KR" altLang="en-US" sz="1200" dirty="0">
              <a:latin typeface="맑은 고딕" pitchFamily="50" charset="-127"/>
            </a:endParaRPr>
          </a:p>
        </p:txBody>
      </p:sp>
      <p:sp>
        <p:nvSpPr>
          <p:cNvPr id="56" name="Rectangle 12"/>
          <p:cNvSpPr>
            <a:spLocks noChangeArrowheads="1"/>
          </p:cNvSpPr>
          <p:nvPr/>
        </p:nvSpPr>
        <p:spPr bwMode="auto">
          <a:xfrm>
            <a:off x="6237720" y="688180"/>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페이지 </a:t>
            </a:r>
            <a:r>
              <a:rPr lang="en-US" altLang="ko-KR" sz="1200" dirty="0" smtClean="0">
                <a:latin typeface="맑은 고딕" pitchFamily="50" charset="-127"/>
              </a:rPr>
              <a:t>View</a:t>
            </a:r>
            <a:endParaRPr lang="ko-KR" altLang="en-US" sz="1200" dirty="0">
              <a:latin typeface="맑은 고딕" pitchFamily="50" charset="-127"/>
            </a:endParaRPr>
          </a:p>
        </p:txBody>
      </p:sp>
      <p:sp>
        <p:nvSpPr>
          <p:cNvPr id="57" name="Rectangle 12"/>
          <p:cNvSpPr>
            <a:spLocks noChangeArrowheads="1"/>
          </p:cNvSpPr>
          <p:nvPr/>
        </p:nvSpPr>
        <p:spPr bwMode="auto">
          <a:xfrm>
            <a:off x="7559039" y="680958"/>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기</a:t>
            </a:r>
            <a:r>
              <a:rPr lang="ko-KR" altLang="en-US" sz="1200" dirty="0">
                <a:latin typeface="맑은 고딕" pitchFamily="50" charset="-127"/>
              </a:rPr>
              <a:t>능</a:t>
            </a:r>
          </a:p>
        </p:txBody>
      </p:sp>
      <p:sp>
        <p:nvSpPr>
          <p:cNvPr id="59" name="Rectangle 12"/>
          <p:cNvSpPr>
            <a:spLocks noChangeArrowheads="1"/>
          </p:cNvSpPr>
          <p:nvPr/>
        </p:nvSpPr>
        <p:spPr bwMode="auto">
          <a:xfrm>
            <a:off x="2997200" y="1492523"/>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en-US" altLang="ko-KR" sz="1200" dirty="0" smtClean="0">
                <a:latin typeface="맑은 고딕" pitchFamily="50" charset="-127"/>
              </a:rPr>
              <a:t>NFT </a:t>
            </a:r>
            <a:r>
              <a:rPr lang="ko-KR" altLang="en-US" sz="1200" dirty="0" smtClean="0">
                <a:latin typeface="맑은 고딕" pitchFamily="50" charset="-127"/>
              </a:rPr>
              <a:t>구매</a:t>
            </a:r>
            <a:endParaRPr lang="en-US" altLang="ko-KR" sz="1200" dirty="0" smtClean="0">
              <a:latin typeface="맑은 고딕" pitchFamily="50" charset="-127"/>
            </a:endParaRPr>
          </a:p>
          <a:p>
            <a:pPr algn="ctr">
              <a:lnSpc>
                <a:spcPct val="110000"/>
              </a:lnSpc>
            </a:pPr>
            <a:r>
              <a:rPr lang="en-US" altLang="ko-KR" sz="1200" dirty="0" smtClean="0">
                <a:latin typeface="맑은 고딕" pitchFamily="50" charset="-127"/>
              </a:rPr>
              <a:t>(</a:t>
            </a:r>
            <a:r>
              <a:rPr lang="ko-KR" altLang="en-US" sz="1200" dirty="0" smtClean="0">
                <a:latin typeface="맑은 고딕" pitchFamily="50" charset="-127"/>
              </a:rPr>
              <a:t>목록</a:t>
            </a:r>
            <a:r>
              <a:rPr lang="en-US" altLang="ko-KR" sz="1200" dirty="0" smtClean="0">
                <a:latin typeface="맑은 고딕" pitchFamily="50" charset="-127"/>
              </a:rPr>
              <a:t>)</a:t>
            </a:r>
          </a:p>
        </p:txBody>
      </p:sp>
      <p:sp>
        <p:nvSpPr>
          <p:cNvPr id="60" name="Rectangle 12"/>
          <p:cNvSpPr>
            <a:spLocks noChangeArrowheads="1"/>
          </p:cNvSpPr>
          <p:nvPr/>
        </p:nvSpPr>
        <p:spPr bwMode="auto">
          <a:xfrm>
            <a:off x="2995814" y="3388519"/>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공동명의 구매</a:t>
            </a:r>
            <a:endParaRPr lang="en-US" altLang="ko-KR" sz="1200" dirty="0" smtClean="0">
              <a:latin typeface="맑은 고딕" pitchFamily="50" charset="-127"/>
            </a:endParaRPr>
          </a:p>
          <a:p>
            <a:pPr algn="ctr">
              <a:lnSpc>
                <a:spcPct val="110000"/>
              </a:lnSpc>
            </a:pPr>
            <a:r>
              <a:rPr lang="ko-KR" altLang="en-US" sz="1200" dirty="0" smtClean="0">
                <a:latin typeface="맑은 고딕" pitchFamily="50" charset="-127"/>
              </a:rPr>
              <a:t>최초 제안</a:t>
            </a:r>
            <a:endParaRPr lang="en-US" altLang="ko-KR" sz="1200" dirty="0" smtClean="0">
              <a:latin typeface="맑은 고딕" pitchFamily="50" charset="-127"/>
            </a:endParaRPr>
          </a:p>
        </p:txBody>
      </p:sp>
      <p:sp>
        <p:nvSpPr>
          <p:cNvPr id="62" name="Rectangle 12"/>
          <p:cNvSpPr>
            <a:spLocks noChangeArrowheads="1"/>
          </p:cNvSpPr>
          <p:nvPr/>
        </p:nvSpPr>
        <p:spPr bwMode="auto">
          <a:xfrm>
            <a:off x="4262438" y="1494544"/>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공동명의</a:t>
            </a:r>
            <a:endParaRPr lang="en-US" altLang="ko-KR" sz="1200" dirty="0" smtClean="0">
              <a:latin typeface="맑은 고딕" pitchFamily="50" charset="-127"/>
            </a:endParaRPr>
          </a:p>
          <a:p>
            <a:pPr algn="ctr">
              <a:lnSpc>
                <a:spcPct val="110000"/>
              </a:lnSpc>
            </a:pPr>
            <a:r>
              <a:rPr lang="ko-KR" altLang="en-US" sz="1200" dirty="0" smtClean="0">
                <a:latin typeface="맑은 고딕" pitchFamily="50" charset="-127"/>
              </a:rPr>
              <a:t>구매 게시판 </a:t>
            </a:r>
            <a:endParaRPr lang="ko-KR" altLang="en-US" sz="1200" dirty="0">
              <a:latin typeface="맑은 고딕" pitchFamily="50" charset="-127"/>
            </a:endParaRPr>
          </a:p>
        </p:txBody>
      </p:sp>
      <p:sp>
        <p:nvSpPr>
          <p:cNvPr id="63" name="Rectangle 12"/>
          <p:cNvSpPr>
            <a:spLocks noChangeArrowheads="1"/>
          </p:cNvSpPr>
          <p:nvPr/>
        </p:nvSpPr>
        <p:spPr bwMode="auto">
          <a:xfrm>
            <a:off x="2995815" y="3990167"/>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err="1" smtClean="0">
                <a:latin typeface="맑은 고딕" pitchFamily="50" charset="-127"/>
              </a:rPr>
              <a:t>그룹</a:t>
            </a:r>
            <a:r>
              <a:rPr lang="ko-KR" altLang="en-US" sz="1200" dirty="0" err="1">
                <a:latin typeface="맑은 고딕" pitchFamily="50" charset="-127"/>
              </a:rPr>
              <a:t>원</a:t>
            </a:r>
            <a:r>
              <a:rPr lang="ko-KR" altLang="en-US" sz="1200" dirty="0" smtClean="0">
                <a:latin typeface="맑은 고딕" pitchFamily="50" charset="-127"/>
              </a:rPr>
              <a:t> 모집 방식 설정</a:t>
            </a:r>
            <a:endParaRPr lang="en-US" altLang="ko-KR" sz="1200" dirty="0" smtClean="0">
              <a:latin typeface="맑은 고딕" pitchFamily="50" charset="-127"/>
            </a:endParaRPr>
          </a:p>
        </p:txBody>
      </p:sp>
      <p:sp>
        <p:nvSpPr>
          <p:cNvPr id="64" name="Rectangle 12"/>
          <p:cNvSpPr>
            <a:spLocks noChangeArrowheads="1"/>
          </p:cNvSpPr>
          <p:nvPr/>
        </p:nvSpPr>
        <p:spPr bwMode="auto">
          <a:xfrm>
            <a:off x="2997200" y="2173432"/>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en-US" altLang="ko-KR" sz="1200" dirty="0" smtClean="0">
                <a:latin typeface="맑은 고딕" pitchFamily="50" charset="-127"/>
              </a:rPr>
              <a:t>NFT </a:t>
            </a:r>
            <a:r>
              <a:rPr lang="ko-KR" altLang="en-US" sz="1200" dirty="0" smtClean="0">
                <a:latin typeface="맑은 고딕" pitchFamily="50" charset="-127"/>
              </a:rPr>
              <a:t>구매</a:t>
            </a:r>
            <a:endParaRPr lang="en-US" altLang="ko-KR" sz="1200" dirty="0">
              <a:latin typeface="맑은 고딕" pitchFamily="50" charset="-127"/>
            </a:endParaRPr>
          </a:p>
          <a:p>
            <a:pPr algn="ctr">
              <a:lnSpc>
                <a:spcPct val="110000"/>
              </a:lnSpc>
            </a:pPr>
            <a:r>
              <a:rPr lang="ko-KR" altLang="en-US" sz="1200" dirty="0" smtClean="0">
                <a:latin typeface="맑은 고딕" pitchFamily="50" charset="-127"/>
              </a:rPr>
              <a:t>페이지</a:t>
            </a:r>
            <a:endParaRPr lang="en-US" altLang="ko-KR" sz="1200" dirty="0" smtClean="0">
              <a:latin typeface="맑은 고딕" pitchFamily="50" charset="-127"/>
            </a:endParaRPr>
          </a:p>
        </p:txBody>
      </p:sp>
      <p:sp>
        <p:nvSpPr>
          <p:cNvPr id="65" name="Rectangle 12"/>
          <p:cNvSpPr>
            <a:spLocks noChangeArrowheads="1"/>
          </p:cNvSpPr>
          <p:nvPr/>
        </p:nvSpPr>
        <p:spPr bwMode="auto">
          <a:xfrm>
            <a:off x="4244426" y="2171064"/>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공동명의</a:t>
            </a:r>
            <a:endParaRPr lang="en-US" altLang="ko-KR" sz="1200" dirty="0" smtClean="0">
              <a:latin typeface="맑은 고딕" pitchFamily="50" charset="-127"/>
            </a:endParaRPr>
          </a:p>
          <a:p>
            <a:pPr algn="ctr">
              <a:lnSpc>
                <a:spcPct val="110000"/>
              </a:lnSpc>
            </a:pPr>
            <a:r>
              <a:rPr lang="ko-KR" altLang="en-US" sz="1200" dirty="0" smtClean="0">
                <a:latin typeface="맑은 고딕" pitchFamily="50" charset="-127"/>
              </a:rPr>
              <a:t>참여 페이지 </a:t>
            </a:r>
            <a:endParaRPr lang="ko-KR" altLang="en-US" sz="1200" dirty="0">
              <a:latin typeface="맑은 고딕" pitchFamily="50" charset="-127"/>
            </a:endParaRPr>
          </a:p>
        </p:txBody>
      </p:sp>
      <p:sp>
        <p:nvSpPr>
          <p:cNvPr id="66" name="Rectangle 12"/>
          <p:cNvSpPr>
            <a:spLocks noChangeArrowheads="1"/>
          </p:cNvSpPr>
          <p:nvPr/>
        </p:nvSpPr>
        <p:spPr bwMode="auto">
          <a:xfrm>
            <a:off x="2995813" y="4626207"/>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en-US" altLang="ko-KR" sz="1200" dirty="0" smtClean="0">
                <a:latin typeface="맑은 고딕" pitchFamily="50" charset="-127"/>
              </a:rPr>
              <a:t>NFT </a:t>
            </a:r>
            <a:r>
              <a:rPr lang="ko-KR" altLang="en-US" sz="1200" dirty="0" smtClean="0">
                <a:latin typeface="맑은 고딕" pitchFamily="50" charset="-127"/>
              </a:rPr>
              <a:t>운용 방식 설정 </a:t>
            </a:r>
            <a:r>
              <a:rPr lang="en-US" altLang="ko-KR" sz="1200" dirty="0" smtClean="0">
                <a:latin typeface="맑은 고딕" pitchFamily="50" charset="-127"/>
              </a:rPr>
              <a:t>(</a:t>
            </a:r>
            <a:r>
              <a:rPr lang="ko-KR" altLang="en-US" sz="1200" dirty="0" smtClean="0">
                <a:latin typeface="맑은 고딕" pitchFamily="50" charset="-127"/>
              </a:rPr>
              <a:t>매도 등</a:t>
            </a:r>
            <a:r>
              <a:rPr lang="en-US" altLang="ko-KR" sz="1200" dirty="0" smtClean="0">
                <a:latin typeface="맑은 고딕" pitchFamily="50" charset="-127"/>
              </a:rPr>
              <a:t>)</a:t>
            </a:r>
          </a:p>
        </p:txBody>
      </p:sp>
      <p:sp>
        <p:nvSpPr>
          <p:cNvPr id="67" name="Rectangle 12"/>
          <p:cNvSpPr>
            <a:spLocks noChangeArrowheads="1"/>
          </p:cNvSpPr>
          <p:nvPr/>
        </p:nvSpPr>
        <p:spPr bwMode="auto">
          <a:xfrm>
            <a:off x="4243529" y="2784821"/>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참여 등록</a:t>
            </a:r>
            <a:endParaRPr lang="en-US" altLang="ko-KR" sz="1200" dirty="0">
              <a:latin typeface="맑은 고딕" pitchFamily="50" charset="-127"/>
            </a:endParaRPr>
          </a:p>
          <a:p>
            <a:pPr algn="ctr">
              <a:lnSpc>
                <a:spcPct val="110000"/>
              </a:lnSpc>
            </a:pPr>
            <a:r>
              <a:rPr lang="en-US" altLang="ko-KR" sz="1200" dirty="0" smtClean="0">
                <a:latin typeface="맑은 고딕" pitchFamily="50" charset="-127"/>
              </a:rPr>
              <a:t>(</a:t>
            </a:r>
            <a:r>
              <a:rPr lang="ko-KR" altLang="en-US" sz="1200" dirty="0" smtClean="0">
                <a:latin typeface="맑은 고딕" pitchFamily="50" charset="-127"/>
              </a:rPr>
              <a:t>지분 설정 등</a:t>
            </a:r>
            <a:r>
              <a:rPr lang="en-US" altLang="ko-KR" sz="1200" dirty="0" smtClean="0">
                <a:latin typeface="맑은 고딕" pitchFamily="50" charset="-127"/>
              </a:rPr>
              <a:t>)</a:t>
            </a:r>
          </a:p>
        </p:txBody>
      </p:sp>
      <p:sp>
        <p:nvSpPr>
          <p:cNvPr id="68" name="Rectangle 12"/>
          <p:cNvSpPr>
            <a:spLocks noChangeArrowheads="1"/>
          </p:cNvSpPr>
          <p:nvPr/>
        </p:nvSpPr>
        <p:spPr bwMode="auto">
          <a:xfrm>
            <a:off x="5527674" y="1492522"/>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en-US" altLang="ko-KR" sz="1200" dirty="0" err="1" smtClean="0">
                <a:latin typeface="맑은 고딕" pitchFamily="50" charset="-127"/>
              </a:rPr>
              <a:t>Mypage</a:t>
            </a:r>
            <a:endParaRPr lang="en-US" altLang="ko-KR" sz="1200" dirty="0" smtClean="0">
              <a:latin typeface="맑은 고딕" pitchFamily="50" charset="-127"/>
            </a:endParaRPr>
          </a:p>
        </p:txBody>
      </p:sp>
      <p:sp>
        <p:nvSpPr>
          <p:cNvPr id="69" name="Rectangle 12"/>
          <p:cNvSpPr>
            <a:spLocks noChangeArrowheads="1"/>
          </p:cNvSpPr>
          <p:nvPr/>
        </p:nvSpPr>
        <p:spPr bwMode="auto">
          <a:xfrm>
            <a:off x="4243527" y="3983573"/>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공동명의</a:t>
            </a:r>
            <a:endParaRPr lang="en-US" altLang="ko-KR" sz="1200" dirty="0" smtClean="0">
              <a:latin typeface="맑은 고딕" pitchFamily="50" charset="-127"/>
            </a:endParaRPr>
          </a:p>
          <a:p>
            <a:pPr algn="ctr">
              <a:lnSpc>
                <a:spcPct val="110000"/>
              </a:lnSpc>
            </a:pPr>
            <a:r>
              <a:rPr lang="ko-KR" altLang="en-US" sz="1200" dirty="0" smtClean="0">
                <a:latin typeface="맑은 고딕" pitchFamily="50" charset="-127"/>
              </a:rPr>
              <a:t>구매 내역</a:t>
            </a:r>
            <a:endParaRPr lang="ko-KR" altLang="en-US" sz="1200" dirty="0">
              <a:latin typeface="맑은 고딕" pitchFamily="50" charset="-127"/>
            </a:endParaRPr>
          </a:p>
        </p:txBody>
      </p:sp>
      <p:sp>
        <p:nvSpPr>
          <p:cNvPr id="70" name="Rectangle 12"/>
          <p:cNvSpPr>
            <a:spLocks noChangeArrowheads="1"/>
          </p:cNvSpPr>
          <p:nvPr/>
        </p:nvSpPr>
        <p:spPr bwMode="auto">
          <a:xfrm>
            <a:off x="5527675" y="2171063"/>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나의 </a:t>
            </a:r>
            <a:r>
              <a:rPr lang="en-US" altLang="ko-KR" sz="1200" dirty="0" smtClean="0">
                <a:latin typeface="맑은 고딕" pitchFamily="50" charset="-127"/>
              </a:rPr>
              <a:t>NFT </a:t>
            </a:r>
            <a:r>
              <a:rPr lang="ko-KR" altLang="en-US" sz="1200" dirty="0" smtClean="0">
                <a:latin typeface="맑은 고딕" pitchFamily="50" charset="-127"/>
              </a:rPr>
              <a:t>보유 현황</a:t>
            </a:r>
            <a:endParaRPr lang="en-US" altLang="ko-KR" sz="1200" dirty="0" smtClean="0">
              <a:latin typeface="맑은 고딕" pitchFamily="50" charset="-127"/>
            </a:endParaRPr>
          </a:p>
        </p:txBody>
      </p:sp>
      <p:sp>
        <p:nvSpPr>
          <p:cNvPr id="71" name="Rectangle 12"/>
          <p:cNvSpPr>
            <a:spLocks noChangeArrowheads="1"/>
          </p:cNvSpPr>
          <p:nvPr/>
        </p:nvSpPr>
        <p:spPr bwMode="auto">
          <a:xfrm>
            <a:off x="1728497" y="3291235"/>
            <a:ext cx="1150937" cy="692338"/>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smtClean="0">
                <a:latin typeface="맑은 고딕" pitchFamily="50" charset="-127"/>
              </a:rPr>
              <a:t>메타버스 플랫폼 카테고리</a:t>
            </a:r>
            <a:endParaRPr lang="en-US" altLang="ko-KR" sz="1200" dirty="0" smtClean="0">
              <a:latin typeface="맑은 고딕" pitchFamily="50" charset="-127"/>
            </a:endParaRPr>
          </a:p>
        </p:txBody>
      </p:sp>
      <p:sp>
        <p:nvSpPr>
          <p:cNvPr id="72" name="Rectangle 12"/>
          <p:cNvSpPr>
            <a:spLocks noChangeArrowheads="1"/>
          </p:cNvSpPr>
          <p:nvPr/>
        </p:nvSpPr>
        <p:spPr bwMode="auto">
          <a:xfrm>
            <a:off x="5527675" y="2775325"/>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나의 공동명의 </a:t>
            </a:r>
            <a:r>
              <a:rPr lang="en-US" altLang="ko-KR" sz="1200" dirty="0" smtClean="0">
                <a:latin typeface="맑은 고딕" pitchFamily="50" charset="-127"/>
              </a:rPr>
              <a:t>NFT </a:t>
            </a:r>
            <a:r>
              <a:rPr lang="ko-KR" altLang="en-US" sz="1200" dirty="0" smtClean="0">
                <a:latin typeface="맑은 고딕" pitchFamily="50" charset="-127"/>
              </a:rPr>
              <a:t>보유 현황</a:t>
            </a:r>
            <a:endParaRPr lang="en-US" altLang="ko-KR" sz="1200" dirty="0" smtClean="0">
              <a:latin typeface="맑은 고딕" pitchFamily="50" charset="-127"/>
            </a:endParaRPr>
          </a:p>
        </p:txBody>
      </p:sp>
      <p:sp>
        <p:nvSpPr>
          <p:cNvPr id="73" name="Rectangle 12"/>
          <p:cNvSpPr>
            <a:spLocks noChangeArrowheads="1"/>
          </p:cNvSpPr>
          <p:nvPr/>
        </p:nvSpPr>
        <p:spPr bwMode="auto">
          <a:xfrm>
            <a:off x="5521483" y="3975450"/>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나의 구매 내역</a:t>
            </a:r>
            <a:endParaRPr lang="en-US" altLang="ko-KR" sz="1200" dirty="0" smtClean="0">
              <a:latin typeface="맑은 고딕" pitchFamily="50" charset="-127"/>
            </a:endParaRPr>
          </a:p>
        </p:txBody>
      </p:sp>
      <p:sp>
        <p:nvSpPr>
          <p:cNvPr id="74" name="Rectangle 23"/>
          <p:cNvSpPr>
            <a:spLocks noChangeArrowheads="1"/>
          </p:cNvSpPr>
          <p:nvPr/>
        </p:nvSpPr>
        <p:spPr bwMode="gray">
          <a:xfrm>
            <a:off x="335280" y="1417320"/>
            <a:ext cx="7799228" cy="3944019"/>
          </a:xfrm>
          <a:prstGeom prst="rect">
            <a:avLst/>
          </a:prstGeom>
          <a:noFill/>
          <a:ln w="9525" algn="ctr">
            <a:solidFill>
              <a:srgbClr val="000066"/>
            </a:solidFill>
            <a:prstDash val="lgDash"/>
            <a:miter lim="800000"/>
            <a:headEnd/>
            <a:tailEnd/>
          </a:ln>
          <a:extLst>
            <a:ext uri="{909E8E84-426E-40DD-AFC4-6F175D3DCCD1}">
              <a14:hiddenFill xmlns:a14="http://schemas.microsoft.com/office/drawing/2010/main">
                <a:solidFill>
                  <a:srgbClr val="FFFFFF"/>
                </a:solidFill>
              </a14:hiddenFill>
            </a:ext>
          </a:extLst>
        </p:spPr>
        <p:txBody>
          <a:bodyPr wrap="none" lIns="90488" tIns="44450" rIns="90488" bIns="44450" anchor="ctr"/>
          <a:lstStyle/>
          <a:p>
            <a:pPr algn="ctr"/>
            <a:endParaRPr lang="ko-KR" altLang="en-US">
              <a:latin typeface="맑은 고딕" pitchFamily="50" charset="-127"/>
            </a:endParaRPr>
          </a:p>
        </p:txBody>
      </p:sp>
      <p:sp>
        <p:nvSpPr>
          <p:cNvPr id="75" name="Rectangle 12"/>
          <p:cNvSpPr>
            <a:spLocks noChangeArrowheads="1"/>
          </p:cNvSpPr>
          <p:nvPr/>
        </p:nvSpPr>
        <p:spPr bwMode="auto">
          <a:xfrm>
            <a:off x="6819928" y="2171062"/>
            <a:ext cx="1150937" cy="506413"/>
          </a:xfrm>
          <a:prstGeom prst="rect">
            <a:avLst/>
          </a:prstGeom>
          <a:solidFill>
            <a:srgbClr val="DDDDDD"/>
          </a:solidFill>
          <a:ln w="25400" algn="ctr">
            <a:solidFill>
              <a:srgbClr val="FF0000"/>
            </a:solidFill>
            <a:miter lim="800000"/>
            <a:headEnd/>
            <a:tailEnd/>
          </a:ln>
        </p:spPr>
        <p:txBody>
          <a:bodyPr lIns="18000" rIns="18000" anchor="ctr"/>
          <a:lstStyle/>
          <a:p>
            <a:pPr algn="ctr">
              <a:lnSpc>
                <a:spcPct val="110000"/>
              </a:lnSpc>
            </a:pPr>
            <a:r>
              <a:rPr lang="en-US" altLang="ko-KR" sz="1200" dirty="0" smtClean="0">
                <a:latin typeface="맑은 고딕" pitchFamily="50" charset="-127"/>
              </a:rPr>
              <a:t>NFT </a:t>
            </a:r>
            <a:r>
              <a:rPr lang="ko-KR" altLang="en-US" sz="1200" dirty="0" smtClean="0">
                <a:latin typeface="맑은 고딕" pitchFamily="50" charset="-127"/>
              </a:rPr>
              <a:t>판매</a:t>
            </a:r>
            <a:r>
              <a:rPr lang="en-US" altLang="ko-KR" sz="1200" dirty="0" smtClean="0">
                <a:latin typeface="맑은 고딕" pitchFamily="50" charset="-127"/>
              </a:rPr>
              <a:t>(</a:t>
            </a:r>
            <a:r>
              <a:rPr lang="ko-KR" altLang="en-US" sz="1200" dirty="0" smtClean="0">
                <a:latin typeface="맑은 고딕" pitchFamily="50" charset="-127"/>
              </a:rPr>
              <a:t>매도</a:t>
            </a:r>
            <a:r>
              <a:rPr lang="en-US" altLang="ko-KR" sz="1200" dirty="0" smtClean="0">
                <a:latin typeface="맑은 고딕" pitchFamily="50" charset="-127"/>
              </a:rPr>
              <a:t>)</a:t>
            </a:r>
          </a:p>
        </p:txBody>
      </p:sp>
      <p:sp>
        <p:nvSpPr>
          <p:cNvPr id="76" name="Rectangle 12"/>
          <p:cNvSpPr>
            <a:spLocks noChangeArrowheads="1"/>
          </p:cNvSpPr>
          <p:nvPr/>
        </p:nvSpPr>
        <p:spPr bwMode="auto">
          <a:xfrm>
            <a:off x="6813188" y="2783610"/>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공동명의 </a:t>
            </a:r>
            <a:r>
              <a:rPr lang="en-US" altLang="ko-KR" sz="1200" dirty="0" smtClean="0">
                <a:latin typeface="맑은 고딕" pitchFamily="50" charset="-127"/>
              </a:rPr>
              <a:t>NFT </a:t>
            </a:r>
            <a:r>
              <a:rPr lang="ko-KR" altLang="en-US" sz="1200" dirty="0" smtClean="0">
                <a:latin typeface="맑은 고딕" pitchFamily="50" charset="-127"/>
              </a:rPr>
              <a:t>매도 제안</a:t>
            </a:r>
            <a:endParaRPr lang="en-US" altLang="ko-KR" sz="1200" dirty="0" smtClean="0">
              <a:latin typeface="맑은 고딕" pitchFamily="50" charset="-127"/>
            </a:endParaRPr>
          </a:p>
        </p:txBody>
      </p:sp>
      <p:sp>
        <p:nvSpPr>
          <p:cNvPr id="77" name="Rectangle 12"/>
          <p:cNvSpPr>
            <a:spLocks noChangeArrowheads="1"/>
          </p:cNvSpPr>
          <p:nvPr/>
        </p:nvSpPr>
        <p:spPr bwMode="auto">
          <a:xfrm>
            <a:off x="4244426" y="3388519"/>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공동명의 </a:t>
            </a:r>
            <a:r>
              <a:rPr lang="en-US" altLang="ko-KR" sz="1200" dirty="0" smtClean="0">
                <a:latin typeface="맑은 고딕" pitchFamily="50" charset="-127"/>
              </a:rPr>
              <a:t>NFT </a:t>
            </a:r>
            <a:r>
              <a:rPr lang="ko-KR" altLang="en-US" sz="1200" dirty="0" smtClean="0">
                <a:latin typeface="맑은 고딕" pitchFamily="50" charset="-127"/>
              </a:rPr>
              <a:t>매수</a:t>
            </a:r>
            <a:endParaRPr lang="en-US" altLang="ko-KR" sz="1200" dirty="0" smtClean="0">
              <a:latin typeface="맑은 고딕" pitchFamily="50" charset="-127"/>
            </a:endParaRPr>
          </a:p>
        </p:txBody>
      </p:sp>
      <p:sp>
        <p:nvSpPr>
          <p:cNvPr id="78" name="Rectangle 12"/>
          <p:cNvSpPr>
            <a:spLocks noChangeArrowheads="1"/>
          </p:cNvSpPr>
          <p:nvPr/>
        </p:nvSpPr>
        <p:spPr bwMode="auto">
          <a:xfrm>
            <a:off x="6819928" y="3388519"/>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공동명의 탈퇴 요청</a:t>
            </a:r>
            <a:endParaRPr lang="en-US" altLang="ko-KR" sz="1200" dirty="0" smtClean="0">
              <a:latin typeface="맑은 고딕" pitchFamily="50" charset="-127"/>
            </a:endParaRPr>
          </a:p>
        </p:txBody>
      </p:sp>
      <p:sp>
        <p:nvSpPr>
          <p:cNvPr id="79" name="Rectangle 12"/>
          <p:cNvSpPr>
            <a:spLocks noChangeArrowheads="1"/>
          </p:cNvSpPr>
          <p:nvPr/>
        </p:nvSpPr>
        <p:spPr bwMode="auto">
          <a:xfrm>
            <a:off x="6819927" y="3990167"/>
            <a:ext cx="1150937" cy="506413"/>
          </a:xfrm>
          <a:prstGeom prst="rect">
            <a:avLst/>
          </a:prstGeom>
          <a:solidFill>
            <a:srgbClr val="DDDDDD"/>
          </a:solidFill>
          <a:ln w="3175" algn="ctr">
            <a:solidFill>
              <a:srgbClr val="5F5F5F"/>
            </a:solidFill>
            <a:miter lim="800000"/>
            <a:headEnd/>
            <a:tailEnd/>
          </a:ln>
        </p:spPr>
        <p:txBody>
          <a:bodyPr lIns="18000" rIns="18000" anchor="ctr"/>
          <a:lstStyle/>
          <a:p>
            <a:pPr algn="ctr">
              <a:lnSpc>
                <a:spcPct val="110000"/>
              </a:lnSpc>
            </a:pPr>
            <a:r>
              <a:rPr lang="ko-KR" altLang="en-US" sz="1200" dirty="0" smtClean="0">
                <a:latin typeface="맑은 고딕" pitchFamily="50" charset="-127"/>
              </a:rPr>
              <a:t>공동명의 </a:t>
            </a:r>
            <a:r>
              <a:rPr lang="en-US" altLang="ko-KR" sz="1200" dirty="0" smtClean="0">
                <a:latin typeface="맑은 고딕" pitchFamily="50" charset="-127"/>
              </a:rPr>
              <a:t>NFT</a:t>
            </a:r>
          </a:p>
          <a:p>
            <a:pPr algn="ctr">
              <a:lnSpc>
                <a:spcPct val="110000"/>
              </a:lnSpc>
            </a:pPr>
            <a:r>
              <a:rPr lang="ko-KR" altLang="en-US" sz="1200" dirty="0" smtClean="0">
                <a:latin typeface="맑은 고딕" pitchFamily="50" charset="-127"/>
              </a:rPr>
              <a:t>매</a:t>
            </a:r>
            <a:r>
              <a:rPr lang="ko-KR" altLang="en-US" sz="1200" dirty="0">
                <a:latin typeface="맑은 고딕" pitchFamily="50" charset="-127"/>
              </a:rPr>
              <a:t>도</a:t>
            </a:r>
            <a:endParaRPr lang="en-US" altLang="ko-KR" sz="1200" dirty="0" smtClean="0">
              <a:latin typeface="맑은 고딕" pitchFamily="50" charset="-127"/>
            </a:endParaRPr>
          </a:p>
        </p:txBody>
      </p:sp>
      <p:cxnSp>
        <p:nvCxnSpPr>
          <p:cNvPr id="80" name="AutoShape 30"/>
          <p:cNvCxnSpPr>
            <a:cxnSpLocks noChangeShapeType="1"/>
          </p:cNvCxnSpPr>
          <p:nvPr/>
        </p:nvCxnSpPr>
        <p:spPr bwMode="gray">
          <a:xfrm flipH="1">
            <a:off x="3571283" y="1989210"/>
            <a:ext cx="2" cy="188754"/>
          </a:xfrm>
          <a:prstGeom prst="straightConnector1">
            <a:avLst/>
          </a:prstGeom>
          <a:noFill/>
          <a:ln w="9525">
            <a:solidFill>
              <a:schemeClr val="bg1">
                <a:lumMod val="50000"/>
              </a:schemeClr>
            </a:solidFill>
            <a:round/>
            <a:headEnd/>
            <a:tailEnd type="triangle" w="med" len="med"/>
          </a:ln>
          <a:effectLst/>
        </p:spPr>
      </p:cxnSp>
      <p:cxnSp>
        <p:nvCxnSpPr>
          <p:cNvPr id="81" name="AutoShape 30"/>
          <p:cNvCxnSpPr>
            <a:cxnSpLocks noChangeShapeType="1"/>
          </p:cNvCxnSpPr>
          <p:nvPr/>
        </p:nvCxnSpPr>
        <p:spPr bwMode="gray">
          <a:xfrm flipH="1">
            <a:off x="3568242" y="2636080"/>
            <a:ext cx="2" cy="188754"/>
          </a:xfrm>
          <a:prstGeom prst="straightConnector1">
            <a:avLst/>
          </a:prstGeom>
          <a:noFill/>
          <a:ln w="9525">
            <a:solidFill>
              <a:schemeClr val="bg1">
                <a:lumMod val="50000"/>
              </a:schemeClr>
            </a:solidFill>
            <a:round/>
            <a:headEnd/>
            <a:tailEnd type="triangle" w="med" len="med"/>
          </a:ln>
          <a:effectLst/>
        </p:spPr>
      </p:cxnSp>
      <p:cxnSp>
        <p:nvCxnSpPr>
          <p:cNvPr id="82" name="AutoShape 30"/>
          <p:cNvCxnSpPr>
            <a:cxnSpLocks noChangeShapeType="1"/>
          </p:cNvCxnSpPr>
          <p:nvPr/>
        </p:nvCxnSpPr>
        <p:spPr bwMode="gray">
          <a:xfrm flipH="1">
            <a:off x="3586255" y="3238024"/>
            <a:ext cx="2" cy="188754"/>
          </a:xfrm>
          <a:prstGeom prst="straightConnector1">
            <a:avLst/>
          </a:prstGeom>
          <a:noFill/>
          <a:ln w="9525">
            <a:solidFill>
              <a:schemeClr val="bg1">
                <a:lumMod val="50000"/>
              </a:schemeClr>
            </a:solidFill>
            <a:round/>
            <a:headEnd/>
            <a:tailEnd type="triangle" w="med" len="med"/>
          </a:ln>
          <a:effectLst/>
        </p:spPr>
      </p:cxnSp>
    </p:spTree>
    <p:extLst>
      <p:ext uri="{BB962C8B-B14F-4D97-AF65-F5344CB8AC3E}">
        <p14:creationId xmlns:p14="http://schemas.microsoft.com/office/powerpoint/2010/main" val="24753639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메타마스크로 로그인 </a:t>
            </a:r>
            <a:r>
              <a:rPr lang="en-US" altLang="ko-KR" sz="1800" b="0" kern="0" dirty="0" smtClean="0">
                <a:latin typeface="맑은 고딕" panose="020B0503020000020004" pitchFamily="50" charset="-127"/>
              </a:rPr>
              <a:t>or </a:t>
            </a:r>
            <a:r>
              <a:rPr lang="ko-KR" altLang="en-US" sz="1800" b="0" kern="0" dirty="0" smtClean="0">
                <a:latin typeface="맑은 고딕" panose="020B0503020000020004" pitchFamily="50" charset="-127"/>
              </a:rPr>
              <a:t>자체 계정관리 할지 결정해야 함</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1.1 </a:t>
            </a:r>
            <a:r>
              <a:rPr lang="ko-KR" altLang="en-US" dirty="0" smtClean="0">
                <a:solidFill>
                  <a:schemeClr val="tx2"/>
                </a:solidFill>
                <a:latin typeface="맑은 고딕" pitchFamily="50" charset="-127"/>
              </a:rPr>
              <a:t>로그인</a:t>
            </a:r>
            <a:endParaRPr lang="en-US" altLang="ko-KR" dirty="0">
              <a:solidFill>
                <a:schemeClr val="tx2"/>
              </a:solidFill>
              <a:latin typeface="맑은 고딕" pitchFamily="50" charset="-127"/>
            </a:endParaRPr>
          </a:p>
        </p:txBody>
      </p:sp>
      <p:sp>
        <p:nvSpPr>
          <p:cNvPr id="13317" name="Text Box 31"/>
          <p:cNvSpPr txBox="1">
            <a:spLocks noChangeArrowheads="1"/>
          </p:cNvSpPr>
          <p:nvPr/>
        </p:nvSpPr>
        <p:spPr bwMode="gray">
          <a:xfrm>
            <a:off x="472440" y="1508843"/>
            <a:ext cx="7863840" cy="5629233"/>
          </a:xfrm>
          <a:prstGeom prst="rect">
            <a:avLst/>
          </a:prstGeom>
          <a:noFill/>
          <a:ln>
            <a:noFill/>
          </a:ln>
          <a:effectLst/>
          <a:extLst>
            <a:ext uri="{909E8E84-426E-40DD-AFC4-6F175D3DCCD1}">
              <a14:hiddenFill xmlns:a14="http://schemas.microsoft.com/office/drawing/2010/main">
                <a:solidFill>
                  <a:srgbClr val="E7F0F9"/>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85725" indent="-85725">
              <a:defRPr sz="1600">
                <a:solidFill>
                  <a:schemeClr val="tx1"/>
                </a:solidFill>
                <a:latin typeface="Arial" pitchFamily="34" charset="0"/>
                <a:ea typeface="맑은 고딕" pitchFamily="50" charset="-127"/>
                <a:cs typeface="Arial" pitchFamily="34" charset="0"/>
              </a:defRPr>
            </a:lvl1pPr>
            <a:lvl2pPr marL="639763" indent="-185738">
              <a:defRPr sz="1600">
                <a:solidFill>
                  <a:schemeClr val="tx1"/>
                </a:solidFill>
                <a:latin typeface="Arial" pitchFamily="34" charset="0"/>
                <a:ea typeface="맑은 고딕" pitchFamily="50" charset="-127"/>
                <a:cs typeface="Arial" pitchFamily="34" charset="0"/>
              </a:defRPr>
            </a:lvl2pPr>
            <a:lvl3pPr marL="1016000" indent="-196850">
              <a:defRPr sz="1600">
                <a:solidFill>
                  <a:schemeClr val="tx1"/>
                </a:solidFill>
                <a:latin typeface="Arial" pitchFamily="34" charset="0"/>
                <a:ea typeface="맑은 고딕" pitchFamily="50" charset="-127"/>
                <a:cs typeface="Arial" pitchFamily="34" charset="0"/>
              </a:defRPr>
            </a:lvl3pPr>
            <a:lvl4pPr marL="1365250" indent="-169863">
              <a:defRPr sz="1600">
                <a:solidFill>
                  <a:schemeClr val="bg1"/>
                </a:solidFill>
                <a:latin typeface="Arial" pitchFamily="34" charset="0"/>
                <a:ea typeface="맑은 고딕" pitchFamily="50" charset="-127"/>
                <a:cs typeface="Arial" pitchFamily="34" charset="0"/>
              </a:defRPr>
            </a:lvl4pPr>
            <a:lvl5pPr marL="1714500" indent="-169863">
              <a:defRPr sz="1600">
                <a:solidFill>
                  <a:schemeClr val="bg1"/>
                </a:solidFill>
                <a:latin typeface="Arial" pitchFamily="34" charset="0"/>
                <a:ea typeface="맑은 고딕" pitchFamily="50" charset="-127"/>
                <a:cs typeface="Arial" pitchFamily="34" charset="0"/>
              </a:defRPr>
            </a:lvl5pPr>
            <a:lvl6pPr marL="2171700" indent="-169863" eaLnBrk="0" hangingPunct="0">
              <a:defRPr sz="1600">
                <a:solidFill>
                  <a:schemeClr val="bg1"/>
                </a:solidFill>
                <a:latin typeface="Arial" pitchFamily="34" charset="0"/>
                <a:ea typeface="맑은 고딕" pitchFamily="50" charset="-127"/>
                <a:cs typeface="Arial" pitchFamily="34" charset="0"/>
              </a:defRPr>
            </a:lvl6pPr>
            <a:lvl7pPr marL="2628900" indent="-169863" eaLnBrk="0" hangingPunct="0">
              <a:defRPr sz="1600">
                <a:solidFill>
                  <a:schemeClr val="bg1"/>
                </a:solidFill>
                <a:latin typeface="Arial" pitchFamily="34" charset="0"/>
                <a:ea typeface="맑은 고딕" pitchFamily="50" charset="-127"/>
                <a:cs typeface="Arial" pitchFamily="34" charset="0"/>
              </a:defRPr>
            </a:lvl7pPr>
            <a:lvl8pPr marL="3086100" indent="-169863" eaLnBrk="0" hangingPunct="0">
              <a:defRPr sz="1600">
                <a:solidFill>
                  <a:schemeClr val="bg1"/>
                </a:solidFill>
                <a:latin typeface="Arial" pitchFamily="34" charset="0"/>
                <a:ea typeface="맑은 고딕" pitchFamily="50" charset="-127"/>
                <a:cs typeface="Arial" pitchFamily="34" charset="0"/>
              </a:defRPr>
            </a:lvl8pPr>
            <a:lvl9pPr marL="3543300" indent="-169863" eaLnBrk="0" hangingPunct="0">
              <a:defRPr sz="1600">
                <a:solidFill>
                  <a:schemeClr val="bg1"/>
                </a:solidFill>
                <a:latin typeface="Arial" pitchFamily="34" charset="0"/>
                <a:ea typeface="맑은 고딕" pitchFamily="50" charset="-127"/>
                <a:cs typeface="Arial" pitchFamily="34" charset="0"/>
              </a:defRPr>
            </a:lvl9pPr>
          </a:lstStyle>
          <a:p>
            <a:pPr eaLnBrk="1" latinLnBrk="1" hangingPunct="1">
              <a:spcBef>
                <a:spcPct val="30000"/>
              </a:spcBef>
            </a:pPr>
            <a:r>
              <a:rPr lang="ko-KR" altLang="en-US" sz="1400" dirty="0" smtClean="0">
                <a:latin typeface="맑은 고딕" pitchFamily="50" charset="-127"/>
              </a:rPr>
              <a:t>메타마스크 장점</a:t>
            </a:r>
            <a:endParaRPr lang="en-US" altLang="ko-KR" sz="1400" dirty="0" smtClean="0">
              <a:latin typeface="맑은 고딕" pitchFamily="50" charset="-127"/>
            </a:endParaRPr>
          </a:p>
          <a:p>
            <a:pPr eaLnBrk="1" latinLnBrk="1" hangingPunct="1">
              <a:spcBef>
                <a:spcPct val="30000"/>
              </a:spcBef>
            </a:pPr>
            <a:r>
              <a:rPr lang="ko-KR" altLang="en-US" sz="1400" b="0" dirty="0" smtClean="0">
                <a:latin typeface="맑은 고딕" pitchFamily="50" charset="-127"/>
              </a:rPr>
              <a:t>우리가 지갑관리를 따로 할 필요가 없음</a:t>
            </a:r>
            <a:endParaRPr lang="en-US" altLang="ko-KR" sz="1400" b="0" dirty="0" smtClean="0">
              <a:latin typeface="맑은 고딕" pitchFamily="50" charset="-127"/>
            </a:endParaRPr>
          </a:p>
          <a:p>
            <a:pPr eaLnBrk="1" latinLnBrk="1" hangingPunct="1">
              <a:spcBef>
                <a:spcPct val="30000"/>
              </a:spcBef>
            </a:pPr>
            <a:endParaRPr lang="en-US" altLang="ko-KR" sz="1400" b="0" dirty="0">
              <a:latin typeface="맑은 고딕" pitchFamily="50" charset="-127"/>
            </a:endParaRPr>
          </a:p>
          <a:p>
            <a:pPr eaLnBrk="1" latinLnBrk="1" hangingPunct="1">
              <a:spcBef>
                <a:spcPct val="30000"/>
              </a:spcBef>
            </a:pPr>
            <a:r>
              <a:rPr lang="ko-KR" altLang="en-US" sz="1400" dirty="0" smtClean="0">
                <a:latin typeface="맑은 고딕" pitchFamily="50" charset="-127"/>
              </a:rPr>
              <a:t>메타마스크 단점</a:t>
            </a:r>
            <a:endParaRPr lang="en-US" altLang="ko-KR" sz="1400" dirty="0" smtClean="0">
              <a:latin typeface="맑은 고딕" pitchFamily="50" charset="-127"/>
            </a:endParaRPr>
          </a:p>
          <a:p>
            <a:pPr eaLnBrk="1" latinLnBrk="1" hangingPunct="1">
              <a:spcBef>
                <a:spcPct val="30000"/>
              </a:spcBef>
            </a:pPr>
            <a:r>
              <a:rPr lang="ko-KR" altLang="en-US" sz="1400" b="0" dirty="0" smtClean="0">
                <a:latin typeface="맑은 고딕" pitchFamily="50" charset="-127"/>
              </a:rPr>
              <a:t>사용자 관리 및 통제가 어려움</a:t>
            </a:r>
            <a:endParaRPr lang="en-US" altLang="ko-KR" sz="1400" b="0" dirty="0" smtClean="0">
              <a:latin typeface="맑은 고딕" pitchFamily="50" charset="-127"/>
            </a:endParaRPr>
          </a:p>
          <a:p>
            <a:pPr eaLnBrk="1" latinLnBrk="1" hangingPunct="1">
              <a:spcBef>
                <a:spcPct val="30000"/>
              </a:spcBef>
            </a:pPr>
            <a:endParaRPr lang="en-US" altLang="ko-KR" sz="1400" b="0" dirty="0">
              <a:latin typeface="맑은 고딕" pitchFamily="50" charset="-127"/>
            </a:endParaRPr>
          </a:p>
          <a:p>
            <a:pPr eaLnBrk="1" latinLnBrk="1" hangingPunct="1">
              <a:spcBef>
                <a:spcPct val="30000"/>
              </a:spcBef>
            </a:pPr>
            <a:r>
              <a:rPr lang="ko-KR" altLang="en-US" sz="1400" dirty="0" smtClean="0">
                <a:latin typeface="맑은 고딕" pitchFamily="50" charset="-127"/>
              </a:rPr>
              <a:t>자체 계정 관리 장점</a:t>
            </a:r>
            <a:endParaRPr lang="en-US" altLang="ko-KR" sz="1400" dirty="0" smtClean="0">
              <a:latin typeface="맑은 고딕" pitchFamily="50" charset="-127"/>
            </a:endParaRPr>
          </a:p>
          <a:p>
            <a:pPr marL="0" indent="0" eaLnBrk="1" latinLnBrk="1" hangingPunct="1">
              <a:spcBef>
                <a:spcPct val="30000"/>
              </a:spcBef>
            </a:pPr>
            <a:r>
              <a:rPr lang="ko-KR" altLang="en-US" sz="1400" b="0" dirty="0" smtClean="0">
                <a:latin typeface="맑은 고딕" pitchFamily="50" charset="-127"/>
              </a:rPr>
              <a:t>사용자 관리 및 통제가 편리함</a:t>
            </a:r>
            <a:endParaRPr lang="en-US" altLang="ko-KR" sz="1400" b="0" dirty="0" smtClean="0">
              <a:latin typeface="맑은 고딕" pitchFamily="50" charset="-127"/>
            </a:endParaRPr>
          </a:p>
          <a:p>
            <a:pPr marL="0" indent="0" eaLnBrk="1" latinLnBrk="1" hangingPunct="1">
              <a:spcBef>
                <a:spcPct val="30000"/>
              </a:spcBef>
            </a:pPr>
            <a:r>
              <a:rPr lang="ko-KR" altLang="en-US" sz="1400" b="0" dirty="0" smtClean="0">
                <a:latin typeface="맑은 고딕" pitchFamily="50" charset="-127"/>
              </a:rPr>
              <a:t>거래소처럼 지갑을 우리가 관리할 수 있음</a:t>
            </a:r>
            <a:endParaRPr lang="en-US" altLang="ko-KR" sz="1400" b="0" dirty="0" smtClean="0">
              <a:latin typeface="맑은 고딕" pitchFamily="50" charset="-127"/>
            </a:endParaRPr>
          </a:p>
          <a:p>
            <a:pPr marL="0" indent="0" eaLnBrk="1" latinLnBrk="1" hangingPunct="1">
              <a:spcBef>
                <a:spcPct val="30000"/>
              </a:spcBef>
            </a:pPr>
            <a:r>
              <a:rPr lang="ko-KR" altLang="en-US" sz="1400" b="0" dirty="0" smtClean="0">
                <a:latin typeface="맑은 고딕" pitchFamily="50" charset="-127"/>
              </a:rPr>
              <a:t>사용자 신원 보장</a:t>
            </a:r>
            <a:endParaRPr lang="en-US" altLang="ko-KR" sz="1400" b="0" dirty="0" smtClean="0">
              <a:latin typeface="맑은 고딕" pitchFamily="50" charset="-127"/>
            </a:endParaRPr>
          </a:p>
          <a:p>
            <a:pPr marL="0" indent="0" eaLnBrk="1" latinLnBrk="1" hangingPunct="1">
              <a:spcBef>
                <a:spcPct val="30000"/>
              </a:spcBef>
            </a:pPr>
            <a:endParaRPr lang="en-US" altLang="ko-KR" sz="1400" b="0" dirty="0" smtClean="0">
              <a:latin typeface="맑은 고딕" pitchFamily="50" charset="-127"/>
            </a:endParaRPr>
          </a:p>
          <a:p>
            <a:pPr marL="0" indent="0" eaLnBrk="1" latinLnBrk="1" hangingPunct="1">
              <a:spcBef>
                <a:spcPct val="30000"/>
              </a:spcBef>
            </a:pPr>
            <a:r>
              <a:rPr lang="ko-KR" altLang="en-US" sz="1400" dirty="0" smtClean="0">
                <a:latin typeface="맑은 고딕" pitchFamily="50" charset="-127"/>
              </a:rPr>
              <a:t>자체 계정 관리 단점</a:t>
            </a:r>
            <a:endParaRPr lang="en-US" altLang="ko-KR" sz="1400" dirty="0" smtClean="0">
              <a:latin typeface="맑은 고딕" pitchFamily="50" charset="-127"/>
            </a:endParaRPr>
          </a:p>
          <a:p>
            <a:pPr marL="0" indent="0" eaLnBrk="1" latinLnBrk="1" hangingPunct="1">
              <a:spcBef>
                <a:spcPct val="30000"/>
              </a:spcBef>
            </a:pPr>
            <a:r>
              <a:rPr lang="ko-KR" altLang="en-US" sz="1400" b="0" dirty="0" smtClean="0">
                <a:latin typeface="맑은 고딕" pitchFamily="50" charset="-127"/>
              </a:rPr>
              <a:t>귀찮음</a:t>
            </a:r>
            <a:endParaRPr lang="en-US" altLang="ko-KR" sz="1400" b="0" dirty="0" smtClean="0">
              <a:latin typeface="맑은 고딕" pitchFamily="50" charset="-127"/>
            </a:endParaRPr>
          </a:p>
          <a:p>
            <a:pPr marL="0" indent="0" eaLnBrk="1" latinLnBrk="1" hangingPunct="1">
              <a:spcBef>
                <a:spcPct val="30000"/>
              </a:spcBef>
            </a:pPr>
            <a:r>
              <a:rPr lang="ko-KR" altLang="en-US" sz="1400" b="0" dirty="0" smtClean="0">
                <a:latin typeface="맑은 고딕" pitchFamily="50" charset="-127"/>
              </a:rPr>
              <a:t>지갑 생성</a:t>
            </a:r>
            <a:r>
              <a:rPr lang="en-US" altLang="ko-KR" sz="1400" b="0" dirty="0">
                <a:latin typeface="맑은 고딕" pitchFamily="50" charset="-127"/>
              </a:rPr>
              <a:t> </a:t>
            </a:r>
            <a:r>
              <a:rPr lang="en-US" altLang="ko-KR" sz="1400" b="0" dirty="0" smtClean="0">
                <a:latin typeface="맑은 고딕" pitchFamily="50" charset="-127"/>
              </a:rPr>
              <a:t>&amp; </a:t>
            </a:r>
            <a:r>
              <a:rPr lang="ko-KR" altLang="en-US" sz="1400" b="0" dirty="0" smtClean="0">
                <a:latin typeface="맑은 고딕" pitchFamily="50" charset="-127"/>
              </a:rPr>
              <a:t>관리를 직접 해줘야 함</a:t>
            </a:r>
            <a:endParaRPr lang="en-US" altLang="ko-KR" sz="1400" b="0" dirty="0" smtClean="0">
              <a:latin typeface="맑은 고딕" pitchFamily="50" charset="-127"/>
            </a:endParaRPr>
          </a:p>
          <a:p>
            <a:pPr eaLnBrk="1" latinLnBrk="1" hangingPunct="1">
              <a:spcBef>
                <a:spcPct val="30000"/>
              </a:spcBef>
            </a:pPr>
            <a:endParaRPr lang="en-US" altLang="ko-KR" sz="1400" b="0" dirty="0">
              <a:latin typeface="맑은 고딕" pitchFamily="50" charset="-127"/>
            </a:endParaRPr>
          </a:p>
          <a:p>
            <a:pPr eaLnBrk="1" latinLnBrk="1" hangingPunct="1">
              <a:spcBef>
                <a:spcPct val="30000"/>
              </a:spcBef>
            </a:pPr>
            <a:r>
              <a:rPr lang="ko-KR" altLang="en-US" sz="1400" dirty="0" smtClean="0">
                <a:latin typeface="맑은 고딕" pitchFamily="50" charset="-127"/>
              </a:rPr>
              <a:t>개인적으로는 별도 계정을 만들고 지갑주소를 할당해주는 게 나중에 편할 것 같다는 느낌</a:t>
            </a:r>
            <a:r>
              <a:rPr lang="en-US" altLang="ko-KR" sz="1400" dirty="0" smtClean="0">
                <a:latin typeface="맑은 고딕" pitchFamily="50" charset="-127"/>
              </a:rPr>
              <a:t>..</a:t>
            </a:r>
          </a:p>
          <a:p>
            <a:pPr eaLnBrk="1" latinLnBrk="1" hangingPunct="1">
              <a:spcBef>
                <a:spcPct val="30000"/>
              </a:spcBef>
            </a:pPr>
            <a:r>
              <a:rPr lang="ko-KR" altLang="en-US" sz="1400" dirty="0" smtClean="0">
                <a:latin typeface="맑은 고딕" pitchFamily="50" charset="-127"/>
              </a:rPr>
              <a:t>인데 모르겠음</a:t>
            </a:r>
            <a:r>
              <a:rPr lang="en-US" altLang="ko-KR" sz="1400" dirty="0" smtClean="0">
                <a:latin typeface="맑은 고딕" pitchFamily="50" charset="-127"/>
              </a:rPr>
              <a:t> (</a:t>
            </a:r>
            <a:r>
              <a:rPr lang="ko-KR" altLang="en-US" sz="1400" dirty="0" err="1" smtClean="0">
                <a:latin typeface="맑은 고딕" pitchFamily="50" charset="-127"/>
              </a:rPr>
              <a:t>코박</a:t>
            </a:r>
            <a:r>
              <a:rPr lang="ko-KR" altLang="en-US" sz="1400" dirty="0" smtClean="0">
                <a:latin typeface="맑은 고딕" pitchFamily="50" charset="-127"/>
              </a:rPr>
              <a:t> 같은 곳은 별도 계정을 생성하고</a:t>
            </a:r>
            <a:r>
              <a:rPr lang="en-US" altLang="ko-KR" sz="1400" dirty="0" smtClean="0">
                <a:latin typeface="맑은 고딕" pitchFamily="50" charset="-127"/>
              </a:rPr>
              <a:t>, </a:t>
            </a:r>
            <a:r>
              <a:rPr lang="ko-KR" altLang="en-US" sz="1400" dirty="0" err="1" smtClean="0">
                <a:latin typeface="맑은 고딕" pitchFamily="50" charset="-127"/>
              </a:rPr>
              <a:t>오픈씨</a:t>
            </a:r>
            <a:r>
              <a:rPr lang="en-US" altLang="ko-KR" sz="1400" dirty="0" smtClean="0">
                <a:latin typeface="맑은 고딕" pitchFamily="50" charset="-127"/>
              </a:rPr>
              <a:t>, </a:t>
            </a:r>
            <a:r>
              <a:rPr lang="ko-KR" altLang="en-US" sz="1400" dirty="0" err="1" smtClean="0">
                <a:latin typeface="맑은 고딕" pitchFamily="50" charset="-127"/>
              </a:rPr>
              <a:t>샌드박스</a:t>
            </a:r>
            <a:r>
              <a:rPr lang="en-US" altLang="ko-KR" sz="1400" dirty="0" smtClean="0">
                <a:latin typeface="맑은 고딕" pitchFamily="50" charset="-127"/>
              </a:rPr>
              <a:t>, </a:t>
            </a:r>
            <a:r>
              <a:rPr lang="en-US" altLang="ko-KR" sz="1400" dirty="0" err="1" smtClean="0">
                <a:latin typeface="맑은 고딕" pitchFamily="50" charset="-127"/>
              </a:rPr>
              <a:t>ygg</a:t>
            </a:r>
            <a:r>
              <a:rPr lang="en-US" altLang="ko-KR" sz="1400" dirty="0" smtClean="0">
                <a:latin typeface="맑은 고딕" pitchFamily="50" charset="-127"/>
              </a:rPr>
              <a:t> </a:t>
            </a:r>
            <a:r>
              <a:rPr lang="ko-KR" altLang="en-US" sz="1400" dirty="0" smtClean="0">
                <a:latin typeface="맑은 고딕" pitchFamily="50" charset="-127"/>
              </a:rPr>
              <a:t>등은 지갑연결</a:t>
            </a:r>
            <a:r>
              <a:rPr lang="en-US" altLang="ko-KR" sz="1400" dirty="0" smtClean="0">
                <a:latin typeface="맑은 고딕" pitchFamily="50" charset="-127"/>
              </a:rPr>
              <a:t>)</a:t>
            </a:r>
          </a:p>
          <a:p>
            <a:pPr eaLnBrk="1" latinLnBrk="1" hangingPunct="1">
              <a:spcBef>
                <a:spcPct val="30000"/>
              </a:spcBef>
            </a:pPr>
            <a:r>
              <a:rPr lang="ko-KR" altLang="en-US" sz="1400" b="0" dirty="0" err="1" smtClean="0">
                <a:latin typeface="맑은 고딕" pitchFamily="50" charset="-127"/>
              </a:rPr>
              <a:t>이떄는</a:t>
            </a:r>
            <a:r>
              <a:rPr lang="ko-KR" altLang="en-US" sz="1400" b="0" dirty="0" smtClean="0">
                <a:latin typeface="맑은 고딕" pitchFamily="50" charset="-127"/>
              </a:rPr>
              <a:t> 계정 생성</a:t>
            </a:r>
            <a:r>
              <a:rPr lang="en-US" altLang="ko-KR" sz="1400" b="0" dirty="0" smtClean="0">
                <a:latin typeface="맑은 고딕" pitchFamily="50" charset="-127"/>
              </a:rPr>
              <a:t>, </a:t>
            </a:r>
            <a:r>
              <a:rPr lang="ko-KR" altLang="en-US" sz="1400" b="0" dirty="0" smtClean="0">
                <a:latin typeface="맑은 고딕" pitchFamily="50" charset="-127"/>
              </a:rPr>
              <a:t>로그인</a:t>
            </a:r>
            <a:r>
              <a:rPr lang="en-US" altLang="ko-KR" sz="1400" b="0" dirty="0" smtClean="0">
                <a:latin typeface="맑은 고딕" pitchFamily="50" charset="-127"/>
              </a:rPr>
              <a:t>, </a:t>
            </a:r>
            <a:r>
              <a:rPr lang="ko-KR" altLang="en-US" sz="1400" b="0" dirty="0" smtClean="0">
                <a:latin typeface="맑은 고딕" pitchFamily="50" charset="-127"/>
              </a:rPr>
              <a:t>세션 관리</a:t>
            </a:r>
            <a:r>
              <a:rPr lang="en-US" altLang="ko-KR" sz="1400" b="0" dirty="0" smtClean="0">
                <a:latin typeface="맑은 고딕" pitchFamily="50" charset="-127"/>
              </a:rPr>
              <a:t>, </a:t>
            </a:r>
            <a:r>
              <a:rPr lang="ko-KR" altLang="en-US" sz="1400" b="0" dirty="0" smtClean="0">
                <a:latin typeface="맑은 고딕" pitchFamily="50" charset="-127"/>
              </a:rPr>
              <a:t>로그아웃 등 구현해야 함 </a:t>
            </a:r>
            <a:r>
              <a:rPr lang="en-US" altLang="ko-KR" sz="1400" b="0" dirty="0" smtClean="0">
                <a:latin typeface="맑은 고딕" pitchFamily="50" charset="-127"/>
              </a:rPr>
              <a:t>(session, </a:t>
            </a:r>
            <a:r>
              <a:rPr lang="en-US" altLang="ko-KR" sz="1400" b="0" dirty="0" err="1" smtClean="0">
                <a:latin typeface="맑은 고딕" pitchFamily="50" charset="-127"/>
              </a:rPr>
              <a:t>jwt</a:t>
            </a:r>
            <a:r>
              <a:rPr lang="en-US" altLang="ko-KR" sz="1400" b="0" dirty="0" smtClean="0">
                <a:latin typeface="맑은 고딕" pitchFamily="50" charset="-127"/>
              </a:rPr>
              <a:t> </a:t>
            </a:r>
            <a:r>
              <a:rPr lang="ko-KR" altLang="en-US" sz="1400" b="0" dirty="0" smtClean="0">
                <a:latin typeface="맑은 고딕" pitchFamily="50" charset="-127"/>
              </a:rPr>
              <a:t>등 이용</a:t>
            </a:r>
            <a:r>
              <a:rPr lang="en-US" altLang="ko-KR" sz="1400" b="0" dirty="0" smtClean="0">
                <a:latin typeface="맑은 고딕" pitchFamily="50" charset="-127"/>
              </a:rPr>
              <a:t>)</a:t>
            </a:r>
          </a:p>
          <a:p>
            <a:pPr eaLnBrk="1" latinLnBrk="1" hangingPunct="1">
              <a:spcBef>
                <a:spcPct val="30000"/>
              </a:spcBef>
            </a:pPr>
            <a:endParaRPr lang="en-US" altLang="ko-KR" sz="1400" b="0" dirty="0">
              <a:latin typeface="맑은 고딕" pitchFamily="50" charset="-127"/>
            </a:endParaRPr>
          </a:p>
          <a:p>
            <a:pPr eaLnBrk="1" latinLnBrk="1" hangingPunct="1">
              <a:spcBef>
                <a:spcPct val="30000"/>
              </a:spcBef>
            </a:pPr>
            <a:endParaRPr lang="ko-KR" altLang="en-US" sz="1400" b="0" dirty="0">
              <a:latin typeface="맑은 고딕" pitchFamily="50" charset="-127"/>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참고</a:t>
            </a:r>
            <a:r>
              <a:rPr lang="en-US" altLang="ko-KR" sz="1800" b="0" kern="0" dirty="0" smtClean="0">
                <a:latin typeface="맑은 고딕" panose="020B0503020000020004" pitchFamily="50" charset="-127"/>
              </a:rPr>
              <a:t>: YGG </a:t>
            </a:r>
            <a:r>
              <a:rPr lang="ko-KR" altLang="en-US" sz="1800" b="0" kern="0" dirty="0" smtClean="0">
                <a:latin typeface="맑은 고딕" panose="020B0503020000020004" pitchFamily="50" charset="-127"/>
              </a:rPr>
              <a:t>로그인 화면</a:t>
            </a:r>
            <a:r>
              <a:rPr lang="en-US" altLang="ko-KR" sz="1800" b="0" kern="0" dirty="0">
                <a:latin typeface="맑은 고딕" panose="020B0503020000020004" pitchFamily="50" charset="-127"/>
              </a:rPr>
              <a:t> </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예시</a:t>
            </a:r>
            <a:r>
              <a:rPr lang="en-US" altLang="ko-KR" sz="1800" b="0" kern="0" dirty="0" smtClean="0">
                <a:latin typeface="맑은 고딕" panose="020B0503020000020004" pitchFamily="50" charset="-127"/>
              </a:rPr>
              <a:t>)</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1.1 </a:t>
            </a:r>
            <a:r>
              <a:rPr lang="ko-KR" altLang="en-US" dirty="0" smtClean="0">
                <a:solidFill>
                  <a:schemeClr val="tx2"/>
                </a:solidFill>
                <a:latin typeface="맑은 고딕" pitchFamily="50" charset="-127"/>
              </a:rPr>
              <a:t>로그인</a:t>
            </a:r>
            <a:endParaRPr lang="en-US" altLang="ko-KR" dirty="0">
              <a:solidFill>
                <a:schemeClr val="tx2"/>
              </a:solidFill>
              <a:latin typeface="맑은 고딕" pitchFamily="50" charset="-127"/>
            </a:endParaRPr>
          </a:p>
        </p:txBody>
      </p:sp>
      <p:pic>
        <p:nvPicPr>
          <p:cNvPr id="5"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5320" y="1600200"/>
            <a:ext cx="7188200" cy="44822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206950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96863" y="457200"/>
            <a:ext cx="9312275" cy="815975"/>
          </a:xfrm>
          <a:prstGeom prst="rect">
            <a:avLst/>
          </a:prstGeom>
          <a:noFill/>
          <a:ln>
            <a:noFill/>
          </a:ln>
        </p:spPr>
        <p:txBody>
          <a:bodyPr anchor="b"/>
          <a:lstStyle>
            <a:lvl1pPr algn="l" rtl="0" eaLnBrk="0" fontAlgn="base" hangingPunct="0">
              <a:lnSpc>
                <a:spcPct val="90000"/>
              </a:lnSpc>
              <a:spcBef>
                <a:spcPct val="0"/>
              </a:spcBef>
              <a:spcAft>
                <a:spcPct val="0"/>
              </a:spcAft>
              <a:defRPr sz="2000">
                <a:solidFill>
                  <a:schemeClr val="tx1"/>
                </a:solidFill>
                <a:latin typeface="+mj-lt"/>
                <a:ea typeface="맑은 고딕" panose="020B0503020000020004" pitchFamily="50" charset="-127"/>
                <a:cs typeface="+mj-cs"/>
              </a:defRPr>
            </a:lvl1pPr>
            <a:lvl2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2pPr>
            <a:lvl3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3pPr>
            <a:lvl4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4pPr>
            <a:lvl5pPr algn="l" rtl="0" eaLnBrk="0" fontAlgn="base" hangingPunct="0">
              <a:lnSpc>
                <a:spcPct val="90000"/>
              </a:lnSpc>
              <a:spcBef>
                <a:spcPct val="0"/>
              </a:spcBef>
              <a:spcAft>
                <a:spcPct val="0"/>
              </a:spcAft>
              <a:defRPr sz="2000">
                <a:solidFill>
                  <a:schemeClr val="tx1"/>
                </a:solidFill>
                <a:latin typeface="Arial" charset="0"/>
                <a:ea typeface="맑은 고딕" panose="020B0503020000020004" pitchFamily="50" charset="-127"/>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a:lstStyle>
          <a:p>
            <a:pPr>
              <a:defRPr/>
            </a:pPr>
            <a:r>
              <a:rPr lang="ko-KR" altLang="en-US" sz="1800" b="0" kern="0" dirty="0" smtClean="0">
                <a:latin typeface="맑은 고딕" panose="020B0503020000020004" pitchFamily="50" charset="-127"/>
              </a:rPr>
              <a:t>참고</a:t>
            </a:r>
            <a:r>
              <a:rPr lang="en-US" altLang="ko-KR" sz="1800" b="0" kern="0" dirty="0" smtClean="0">
                <a:latin typeface="맑은 고딕" panose="020B0503020000020004" pitchFamily="50" charset="-127"/>
              </a:rPr>
              <a:t>: YGG </a:t>
            </a:r>
            <a:r>
              <a:rPr lang="ko-KR" altLang="en-US" sz="1800" b="0" kern="0" dirty="0" smtClean="0">
                <a:latin typeface="맑은 고딕" panose="020B0503020000020004" pitchFamily="50" charset="-127"/>
              </a:rPr>
              <a:t>는 첫 로그인 시 서비스 이용을 위해 </a:t>
            </a:r>
            <a:r>
              <a:rPr lang="ko-KR" altLang="en-US" sz="1800" b="0" kern="0" dirty="0" err="1" smtClean="0">
                <a:latin typeface="맑은 고딕" panose="020B0503020000020004" pitchFamily="50" charset="-127"/>
              </a:rPr>
              <a:t>뱃지를</a:t>
            </a:r>
            <a:r>
              <a:rPr lang="ko-KR" altLang="en-US" sz="1800" b="0" kern="0" dirty="0" smtClean="0">
                <a:latin typeface="맑은 고딕" panose="020B0503020000020004" pitchFamily="50" charset="-127"/>
              </a:rPr>
              <a:t> 받으라고 함 </a:t>
            </a:r>
            <a:r>
              <a:rPr lang="en-US" altLang="ko-KR" sz="1800" b="0" kern="0" dirty="0" smtClean="0">
                <a:latin typeface="맑은 고딕" panose="020B0503020000020004" pitchFamily="50" charset="-127"/>
              </a:rPr>
              <a:t>(</a:t>
            </a:r>
            <a:r>
              <a:rPr lang="ko-KR" altLang="en-US" sz="1800" b="0" kern="0" dirty="0" err="1" smtClean="0">
                <a:latin typeface="맑은 고딕" panose="020B0503020000020004" pitchFamily="50" charset="-127"/>
              </a:rPr>
              <a:t>가스비</a:t>
            </a:r>
            <a:r>
              <a:rPr lang="ko-KR" altLang="en-US" sz="1800" b="0" kern="0" dirty="0" smtClean="0">
                <a:latin typeface="맑은 고딕" panose="020B0503020000020004" pitchFamily="50" charset="-127"/>
              </a:rPr>
              <a:t> 발생</a:t>
            </a:r>
            <a:r>
              <a:rPr lang="en-US" altLang="ko-KR" sz="1800" b="0" kern="0" dirty="0" smtClean="0">
                <a:latin typeface="맑은 고딕" panose="020B0503020000020004" pitchFamily="50" charset="-127"/>
              </a:rPr>
              <a:t>)</a:t>
            </a:r>
            <a:r>
              <a:rPr lang="ko-KR" altLang="en-US" sz="1800" b="0" kern="0" dirty="0" smtClean="0">
                <a:latin typeface="맑은 고딕" panose="020B0503020000020004" pitchFamily="50" charset="-127"/>
              </a:rPr>
              <a:t> </a:t>
            </a:r>
            <a:endParaRPr lang="ko-KR" altLang="en-US" sz="1800" b="0" kern="0" dirty="0">
              <a:latin typeface="맑은 고딕" panose="020B0503020000020004" pitchFamily="50" charset="-127"/>
            </a:endParaRPr>
          </a:p>
        </p:txBody>
      </p:sp>
      <p:sp>
        <p:nvSpPr>
          <p:cNvPr id="13315" name="Rectangle 3"/>
          <p:cNvSpPr>
            <a:spLocks noChangeArrowheads="1"/>
          </p:cNvSpPr>
          <p:nvPr/>
        </p:nvSpPr>
        <p:spPr bwMode="auto">
          <a:xfrm>
            <a:off x="296863" y="157163"/>
            <a:ext cx="76279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latinLnBrk="1"/>
            <a:r>
              <a:rPr lang="en-US" altLang="ko-KR" dirty="0" smtClean="0">
                <a:solidFill>
                  <a:schemeClr val="tx2"/>
                </a:solidFill>
                <a:latin typeface="맑은 고딕" pitchFamily="50" charset="-127"/>
              </a:rPr>
              <a:t>1.2 </a:t>
            </a:r>
            <a:r>
              <a:rPr lang="ko-KR" altLang="en-US" dirty="0" smtClean="0">
                <a:solidFill>
                  <a:schemeClr val="tx2"/>
                </a:solidFill>
                <a:latin typeface="맑은 고딕" pitchFamily="50" charset="-127"/>
              </a:rPr>
              <a:t>메인 화면 예시</a:t>
            </a:r>
            <a:endParaRPr lang="en-US" altLang="ko-KR" dirty="0">
              <a:solidFill>
                <a:schemeClr val="tx2"/>
              </a:solidFill>
              <a:latin typeface="맑은 고딕" pitchFamily="50" charset="-127"/>
            </a:endParaRPr>
          </a:p>
        </p:txBody>
      </p:sp>
      <p:pic>
        <p:nvPicPr>
          <p:cNvPr id="8294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8425" y="1874520"/>
            <a:ext cx="6556375" cy="433452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23159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egatDjzx0Gko6Xe2CNRTg"/>
</p:tagLst>
</file>

<file path=ppt/theme/theme1.xml><?xml version="1.0" encoding="utf-8"?>
<a:theme xmlns:a="http://schemas.openxmlformats.org/drawingml/2006/main" name="GPS Korea Sales 2013">
  <a:themeElements>
    <a:clrScheme name="GPS Korea Sales 2013 9">
      <a:dk1>
        <a:srgbClr val="000000"/>
      </a:dk1>
      <a:lt1>
        <a:srgbClr val="FFFFFF"/>
      </a:lt1>
      <a:dk2>
        <a:srgbClr val="000000"/>
      </a:dk2>
      <a:lt2>
        <a:srgbClr val="FFFFFF"/>
      </a:lt2>
      <a:accent1>
        <a:srgbClr val="7889FB"/>
      </a:accent1>
      <a:accent2>
        <a:srgbClr val="D6DBFE"/>
      </a:accent2>
      <a:accent3>
        <a:srgbClr val="FFFFFF"/>
      </a:accent3>
      <a:accent4>
        <a:srgbClr val="000000"/>
      </a:accent4>
      <a:accent5>
        <a:srgbClr val="BEC4FD"/>
      </a:accent5>
      <a:accent6>
        <a:srgbClr val="C2C6E6"/>
      </a:accent6>
      <a:hlink>
        <a:srgbClr val="7889FB"/>
      </a:hlink>
      <a:folHlink>
        <a:srgbClr val="9900CC"/>
      </a:folHlink>
    </a:clrScheme>
    <a:fontScheme name="8_IBM200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FFC000"/>
        </a:solidFill>
        <a:ln w="9525" algn="ctr">
          <a:solidFill>
            <a:srgbClr val="FFC000"/>
          </a:solidFill>
          <a:miter lim="800000"/>
          <a:headEnd/>
          <a:tailEnd/>
        </a:ln>
      </a:spPr>
      <a:bodyPr lIns="90000" tIns="46800" rIns="90000" bIns="46800" rtlCol="0" anchor="ctr">
        <a:spAutoFit/>
      </a:bodyPr>
      <a:lstStyle>
        <a:defPPr marL="174625" indent="-174625" algn="ctr">
          <a:spcBef>
            <a:spcPct val="20000"/>
          </a:spcBef>
          <a:buFont typeface="Wingdings" panose="05000000000000000000" pitchFamily="2" charset="2"/>
          <a:buChar char="§"/>
          <a:defRPr sz="1300" b="0" dirty="0">
            <a:latin typeface="맑은 고딕" panose="020B0503020000020004" pitchFamily="50" charset="-127"/>
          </a:defRPr>
        </a:defPPr>
      </a:lstStyle>
    </a:spDef>
    <a:lnDef>
      <a:spPr bwMode="auto">
        <a:noFill/>
        <a:ln w="9525" cap="flat" cmpd="sng" algn="ctr">
          <a:solidFill>
            <a:schemeClr val="tx1"/>
          </a:solidFill>
          <a:prstDash val="solid"/>
          <a:round/>
          <a:headEnd type="none" w="med" len="med"/>
          <a:tailEnd type="none"/>
        </a:ln>
        <a:effectLst/>
      </a:spPr>
      <a:bodyPr/>
      <a:lstStyle/>
    </a:lnDef>
  </a:objectDefaults>
  <a:extraClrSchemeLst>
    <a:extraClrScheme>
      <a:clrScheme name="8_IBM2009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8_IBM2009 2">
        <a:dk1>
          <a:srgbClr val="000000"/>
        </a:dk1>
        <a:lt1>
          <a:srgbClr val="FFFFFF"/>
        </a:lt1>
        <a:dk2>
          <a:srgbClr val="000000"/>
        </a:dk2>
        <a:lt2>
          <a:srgbClr val="808080"/>
        </a:lt2>
        <a:accent1>
          <a:srgbClr val="7889FB"/>
        </a:accent1>
        <a:accent2>
          <a:srgbClr val="71BFA7"/>
        </a:accent2>
        <a:accent3>
          <a:srgbClr val="FFFFFF"/>
        </a:accent3>
        <a:accent4>
          <a:srgbClr val="000000"/>
        </a:accent4>
        <a:accent5>
          <a:srgbClr val="BEC4FD"/>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8_IBM2009 3">
        <a:dk1>
          <a:srgbClr val="000000"/>
        </a:dk1>
        <a:lt1>
          <a:srgbClr val="FFFFFF"/>
        </a:lt1>
        <a:dk2>
          <a:srgbClr val="000000"/>
        </a:dk2>
        <a:lt2>
          <a:srgbClr val="808080"/>
        </a:lt2>
        <a:accent1>
          <a:srgbClr val="7889FB"/>
        </a:accent1>
        <a:accent2>
          <a:srgbClr val="8CC800"/>
        </a:accent2>
        <a:accent3>
          <a:srgbClr val="FFFFFF"/>
        </a:accent3>
        <a:accent4>
          <a:srgbClr val="000000"/>
        </a:accent4>
        <a:accent5>
          <a:srgbClr val="BEC4FD"/>
        </a:accent5>
        <a:accent6>
          <a:srgbClr val="7EB500"/>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8_IBM2009 4">
        <a:dk1>
          <a:srgbClr val="000000"/>
        </a:dk1>
        <a:lt1>
          <a:srgbClr val="FFFFFF"/>
        </a:lt1>
        <a:dk2>
          <a:srgbClr val="000000"/>
        </a:dk2>
        <a:lt2>
          <a:srgbClr val="808080"/>
        </a:lt2>
        <a:accent1>
          <a:srgbClr val="7889FB"/>
        </a:accent1>
        <a:accent2>
          <a:srgbClr val="C7CDFD"/>
        </a:accent2>
        <a:accent3>
          <a:srgbClr val="FFFFFF"/>
        </a:accent3>
        <a:accent4>
          <a:srgbClr val="000000"/>
        </a:accent4>
        <a:accent5>
          <a:srgbClr val="BEC4FD"/>
        </a:accent5>
        <a:accent6>
          <a:srgbClr val="B4BAE5"/>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8_IBM2009 5">
        <a:dk1>
          <a:srgbClr val="000000"/>
        </a:dk1>
        <a:lt1>
          <a:srgbClr val="FFFFFF"/>
        </a:lt1>
        <a:dk2>
          <a:srgbClr val="061DC8"/>
        </a:dk2>
        <a:lt2>
          <a:srgbClr val="808080"/>
        </a:lt2>
        <a:accent1>
          <a:srgbClr val="7889FB"/>
        </a:accent1>
        <a:accent2>
          <a:srgbClr val="C7CDFD"/>
        </a:accent2>
        <a:accent3>
          <a:srgbClr val="FFFFFF"/>
        </a:accent3>
        <a:accent4>
          <a:srgbClr val="000000"/>
        </a:accent4>
        <a:accent5>
          <a:srgbClr val="BEC4FD"/>
        </a:accent5>
        <a:accent6>
          <a:srgbClr val="B4BAE5"/>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8_IBM2009 6">
        <a:dk1>
          <a:srgbClr val="000000"/>
        </a:dk1>
        <a:lt1>
          <a:srgbClr val="FFFFFF"/>
        </a:lt1>
        <a:dk2>
          <a:srgbClr val="061DC8"/>
        </a:dk2>
        <a:lt2>
          <a:srgbClr val="808080"/>
        </a:lt2>
        <a:accent1>
          <a:srgbClr val="7889FB"/>
        </a:accent1>
        <a:accent2>
          <a:srgbClr val="C7CDFD"/>
        </a:accent2>
        <a:accent3>
          <a:srgbClr val="FFFFFF"/>
        </a:accent3>
        <a:accent4>
          <a:srgbClr val="000000"/>
        </a:accent4>
        <a:accent5>
          <a:srgbClr val="BEC4FD"/>
        </a:accent5>
        <a:accent6>
          <a:srgbClr val="B4BAE5"/>
        </a:accent6>
        <a:hlink>
          <a:srgbClr val="659900"/>
        </a:hlink>
        <a:folHlink>
          <a:srgbClr val="9900CC"/>
        </a:folHlink>
      </a:clrScheme>
      <a:clrMap bg1="lt1" tx1="dk1" bg2="lt2" tx2="dk2" accent1="accent1" accent2="accent2" accent3="accent3" accent4="accent4" accent5="accent5" accent6="accent6" hlink="hlink" folHlink="folHlink"/>
    </a:extraClrScheme>
    <a:extraClrScheme>
      <a:clrScheme name="8_IBM2009 7">
        <a:dk1>
          <a:srgbClr val="000000"/>
        </a:dk1>
        <a:lt1>
          <a:srgbClr val="FFFFFF"/>
        </a:lt1>
        <a:dk2>
          <a:srgbClr val="061DC8"/>
        </a:dk2>
        <a:lt2>
          <a:srgbClr val="808080"/>
        </a:lt2>
        <a:accent1>
          <a:srgbClr val="7889FB"/>
        </a:accent1>
        <a:accent2>
          <a:srgbClr val="C7CDFD"/>
        </a:accent2>
        <a:accent3>
          <a:srgbClr val="FFFFFF"/>
        </a:accent3>
        <a:accent4>
          <a:srgbClr val="000000"/>
        </a:accent4>
        <a:accent5>
          <a:srgbClr val="BEC4FD"/>
        </a:accent5>
        <a:accent6>
          <a:srgbClr val="B4BAE5"/>
        </a:accent6>
        <a:hlink>
          <a:srgbClr val="659900"/>
        </a:hlink>
        <a:folHlink>
          <a:srgbClr val="8CC800"/>
        </a:folHlink>
      </a:clrScheme>
      <a:clrMap bg1="lt1" tx1="dk1" bg2="lt2" tx2="dk2" accent1="accent1" accent2="accent2" accent3="accent3" accent4="accent4" accent5="accent5" accent6="accent6" hlink="hlink" folHlink="folHlink"/>
    </a:extraClrScheme>
    <a:extraClrScheme>
      <a:clrScheme name="8_IBM2009 8">
        <a:dk1>
          <a:srgbClr val="000000"/>
        </a:dk1>
        <a:lt1>
          <a:srgbClr val="FFFFFF"/>
        </a:lt1>
        <a:dk2>
          <a:srgbClr val="061DC8"/>
        </a:dk2>
        <a:lt2>
          <a:srgbClr val="808080"/>
        </a:lt2>
        <a:accent1>
          <a:srgbClr val="7889FB"/>
        </a:accent1>
        <a:accent2>
          <a:srgbClr val="C7CDFD"/>
        </a:accent2>
        <a:accent3>
          <a:srgbClr val="FFFFFF"/>
        </a:accent3>
        <a:accent4>
          <a:srgbClr val="000000"/>
        </a:accent4>
        <a:accent5>
          <a:srgbClr val="BEC4FD"/>
        </a:accent5>
        <a:accent6>
          <a:srgbClr val="B4BAE5"/>
        </a:accent6>
        <a:hlink>
          <a:srgbClr val="7889FB"/>
        </a:hlink>
        <a:folHlink>
          <a:srgbClr val="8CC800"/>
        </a:folHlink>
      </a:clrScheme>
      <a:clrMap bg1="lt1" tx1="dk1" bg2="lt2" tx2="dk2" accent1="accent1" accent2="accent2" accent3="accent3" accent4="accent4" accent5="accent5" accent6="accent6" hlink="hlink" folHlink="folHlink"/>
    </a:extraClrScheme>
    <a:extraClrScheme>
      <a:clrScheme name="GPS Korea Sales 2013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GPS Korea Sales 2013 2">
        <a:dk1>
          <a:srgbClr val="000000"/>
        </a:dk1>
        <a:lt1>
          <a:srgbClr val="FFFFFF"/>
        </a:lt1>
        <a:dk2>
          <a:srgbClr val="000000"/>
        </a:dk2>
        <a:lt2>
          <a:srgbClr val="808080"/>
        </a:lt2>
        <a:accent1>
          <a:srgbClr val="7889FB"/>
        </a:accent1>
        <a:accent2>
          <a:srgbClr val="71BFA7"/>
        </a:accent2>
        <a:accent3>
          <a:srgbClr val="FFFFFF"/>
        </a:accent3>
        <a:accent4>
          <a:srgbClr val="000000"/>
        </a:accent4>
        <a:accent5>
          <a:srgbClr val="BEC4FD"/>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GPS Korea Sales 2013 3">
        <a:dk1>
          <a:srgbClr val="000000"/>
        </a:dk1>
        <a:lt1>
          <a:srgbClr val="FFFFFF"/>
        </a:lt1>
        <a:dk2>
          <a:srgbClr val="000000"/>
        </a:dk2>
        <a:lt2>
          <a:srgbClr val="808080"/>
        </a:lt2>
        <a:accent1>
          <a:srgbClr val="7889FB"/>
        </a:accent1>
        <a:accent2>
          <a:srgbClr val="8CC800"/>
        </a:accent2>
        <a:accent3>
          <a:srgbClr val="FFFFFF"/>
        </a:accent3>
        <a:accent4>
          <a:srgbClr val="000000"/>
        </a:accent4>
        <a:accent5>
          <a:srgbClr val="BEC4FD"/>
        </a:accent5>
        <a:accent6>
          <a:srgbClr val="7EB500"/>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GPS Korea Sales 2013 4">
        <a:dk1>
          <a:srgbClr val="000000"/>
        </a:dk1>
        <a:lt1>
          <a:srgbClr val="FFFFFF"/>
        </a:lt1>
        <a:dk2>
          <a:srgbClr val="000000"/>
        </a:dk2>
        <a:lt2>
          <a:srgbClr val="808080"/>
        </a:lt2>
        <a:accent1>
          <a:srgbClr val="7889FB"/>
        </a:accent1>
        <a:accent2>
          <a:srgbClr val="C7CDFD"/>
        </a:accent2>
        <a:accent3>
          <a:srgbClr val="FFFFFF"/>
        </a:accent3>
        <a:accent4>
          <a:srgbClr val="000000"/>
        </a:accent4>
        <a:accent5>
          <a:srgbClr val="BEC4FD"/>
        </a:accent5>
        <a:accent6>
          <a:srgbClr val="B4BAE5"/>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GPS Korea Sales 2013 5">
        <a:dk1>
          <a:srgbClr val="000000"/>
        </a:dk1>
        <a:lt1>
          <a:srgbClr val="FFFFFF"/>
        </a:lt1>
        <a:dk2>
          <a:srgbClr val="061DC8"/>
        </a:dk2>
        <a:lt2>
          <a:srgbClr val="808080"/>
        </a:lt2>
        <a:accent1>
          <a:srgbClr val="7889FB"/>
        </a:accent1>
        <a:accent2>
          <a:srgbClr val="C7CDFD"/>
        </a:accent2>
        <a:accent3>
          <a:srgbClr val="FFFFFF"/>
        </a:accent3>
        <a:accent4>
          <a:srgbClr val="000000"/>
        </a:accent4>
        <a:accent5>
          <a:srgbClr val="BEC4FD"/>
        </a:accent5>
        <a:accent6>
          <a:srgbClr val="B4BAE5"/>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GPS Korea Sales 2013 6">
        <a:dk1>
          <a:srgbClr val="000000"/>
        </a:dk1>
        <a:lt1>
          <a:srgbClr val="FFFFFF"/>
        </a:lt1>
        <a:dk2>
          <a:srgbClr val="061DC8"/>
        </a:dk2>
        <a:lt2>
          <a:srgbClr val="808080"/>
        </a:lt2>
        <a:accent1>
          <a:srgbClr val="7889FB"/>
        </a:accent1>
        <a:accent2>
          <a:srgbClr val="C7CDFD"/>
        </a:accent2>
        <a:accent3>
          <a:srgbClr val="FFFFFF"/>
        </a:accent3>
        <a:accent4>
          <a:srgbClr val="000000"/>
        </a:accent4>
        <a:accent5>
          <a:srgbClr val="BEC4FD"/>
        </a:accent5>
        <a:accent6>
          <a:srgbClr val="B4BAE5"/>
        </a:accent6>
        <a:hlink>
          <a:srgbClr val="659900"/>
        </a:hlink>
        <a:folHlink>
          <a:srgbClr val="9900CC"/>
        </a:folHlink>
      </a:clrScheme>
      <a:clrMap bg1="lt1" tx1="dk1" bg2="lt2" tx2="dk2" accent1="accent1" accent2="accent2" accent3="accent3" accent4="accent4" accent5="accent5" accent6="accent6" hlink="hlink" folHlink="folHlink"/>
    </a:extraClrScheme>
    <a:extraClrScheme>
      <a:clrScheme name="GPS Korea Sales 2013 7">
        <a:dk1>
          <a:srgbClr val="000000"/>
        </a:dk1>
        <a:lt1>
          <a:srgbClr val="FFFFFF"/>
        </a:lt1>
        <a:dk2>
          <a:srgbClr val="061DC8"/>
        </a:dk2>
        <a:lt2>
          <a:srgbClr val="808080"/>
        </a:lt2>
        <a:accent1>
          <a:srgbClr val="7889FB"/>
        </a:accent1>
        <a:accent2>
          <a:srgbClr val="C7CDFD"/>
        </a:accent2>
        <a:accent3>
          <a:srgbClr val="FFFFFF"/>
        </a:accent3>
        <a:accent4>
          <a:srgbClr val="000000"/>
        </a:accent4>
        <a:accent5>
          <a:srgbClr val="BEC4FD"/>
        </a:accent5>
        <a:accent6>
          <a:srgbClr val="B4BAE5"/>
        </a:accent6>
        <a:hlink>
          <a:srgbClr val="659900"/>
        </a:hlink>
        <a:folHlink>
          <a:srgbClr val="8CC800"/>
        </a:folHlink>
      </a:clrScheme>
      <a:clrMap bg1="lt1" tx1="dk1" bg2="lt2" tx2="dk2" accent1="accent1" accent2="accent2" accent3="accent3" accent4="accent4" accent5="accent5" accent6="accent6" hlink="hlink" folHlink="folHlink"/>
    </a:extraClrScheme>
    <a:extraClrScheme>
      <a:clrScheme name="GPS Korea Sales 2013 8">
        <a:dk1>
          <a:srgbClr val="000000"/>
        </a:dk1>
        <a:lt1>
          <a:srgbClr val="FFFFFF"/>
        </a:lt1>
        <a:dk2>
          <a:srgbClr val="061DC8"/>
        </a:dk2>
        <a:lt2>
          <a:srgbClr val="808080"/>
        </a:lt2>
        <a:accent1>
          <a:srgbClr val="7889FB"/>
        </a:accent1>
        <a:accent2>
          <a:srgbClr val="C7CDFD"/>
        </a:accent2>
        <a:accent3>
          <a:srgbClr val="FFFFFF"/>
        </a:accent3>
        <a:accent4>
          <a:srgbClr val="000000"/>
        </a:accent4>
        <a:accent5>
          <a:srgbClr val="BEC4FD"/>
        </a:accent5>
        <a:accent6>
          <a:srgbClr val="B4BAE5"/>
        </a:accent6>
        <a:hlink>
          <a:srgbClr val="7889FB"/>
        </a:hlink>
        <a:folHlink>
          <a:srgbClr val="8CC800"/>
        </a:folHlink>
      </a:clrScheme>
      <a:clrMap bg1="lt1" tx1="dk1" bg2="lt2" tx2="dk2" accent1="accent1" accent2="accent2" accent3="accent3" accent4="accent4" accent5="accent5" accent6="accent6" hlink="hlink" folHlink="folHlink"/>
    </a:extraClrScheme>
    <a:extraClrScheme>
      <a:clrScheme name="GPS Korea Sales 2013 9">
        <a:dk1>
          <a:srgbClr val="000000"/>
        </a:dk1>
        <a:lt1>
          <a:srgbClr val="FFFFFF"/>
        </a:lt1>
        <a:dk2>
          <a:srgbClr val="000000"/>
        </a:dk2>
        <a:lt2>
          <a:srgbClr val="FFFFFF"/>
        </a:lt2>
        <a:accent1>
          <a:srgbClr val="7889FB"/>
        </a:accent1>
        <a:accent2>
          <a:srgbClr val="D6DBFE"/>
        </a:accent2>
        <a:accent3>
          <a:srgbClr val="FFFFFF"/>
        </a:accent3>
        <a:accent4>
          <a:srgbClr val="000000"/>
        </a:accent4>
        <a:accent5>
          <a:srgbClr val="BEC4FD"/>
        </a:accent5>
        <a:accent6>
          <a:srgbClr val="C2C6E6"/>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WFIS End">
  <a:themeElements>
    <a:clrScheme name="Posco_통합구매 파트너십 제안서_20091007_v0.1 1">
      <a:dk1>
        <a:srgbClr val="000000"/>
      </a:dk1>
      <a:lt1>
        <a:srgbClr val="FFFFFF"/>
      </a:lt1>
      <a:dk2>
        <a:srgbClr val="7889FB"/>
      </a:dk2>
      <a:lt2>
        <a:srgbClr val="808080"/>
      </a:lt2>
      <a:accent1>
        <a:srgbClr val="7889FB"/>
      </a:accent1>
      <a:accent2>
        <a:srgbClr val="2DB6B3"/>
      </a:accent2>
      <a:accent3>
        <a:srgbClr val="FFFFFF"/>
      </a:accent3>
      <a:accent4>
        <a:srgbClr val="000000"/>
      </a:accent4>
      <a:accent5>
        <a:srgbClr val="BEC4FD"/>
      </a:accent5>
      <a:accent6>
        <a:srgbClr val="28A5A2"/>
      </a:accent6>
      <a:hlink>
        <a:srgbClr val="C0C0C0"/>
      </a:hlink>
      <a:folHlink>
        <a:srgbClr val="D18213"/>
      </a:folHlink>
    </a:clrScheme>
    <a:fontScheme name="4_Posco_통합구매 파트너십 제안서_20091007_v0.1">
      <a:majorFont>
        <a:latin typeface="맑은 고딕"/>
        <a:ea typeface="맑은 고딕"/>
        <a:cs typeface=""/>
      </a:majorFont>
      <a:minorFont>
        <a:latin typeface="맑은 고딕"/>
        <a:ea typeface="맑은 고딕"/>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rnd" cmpd="sng" algn="ctr">
          <a:solidFill>
            <a:schemeClr val="tx1"/>
          </a:solidFill>
          <a:prstDash val="sysDot"/>
          <a:round/>
          <a:headEnd type="none" w="med" len="med"/>
          <a:tailEnd type="triangle" w="med" len="med"/>
        </a:ln>
        <a:effectLst/>
      </a:spPr>
      <a:bodyPr vert="horz" wrap="square" lIns="90000" tIns="46800" rIns="90000" bIns="46800" numCol="1" anchor="t" anchorCtr="0" compatLnSpc="1">
        <a:prstTxWarp prst="textNoShape">
          <a:avLst/>
        </a:prstTxWarp>
      </a:bodyPr>
      <a:lstStyle>
        <a:defPPr marL="0" marR="0" indent="0" algn="ctr" defTabSz="914400" rtl="0" eaLnBrk="1" fontAlgn="base" latinLnBrk="0" hangingPunct="0">
          <a:lnSpc>
            <a:spcPct val="100000"/>
          </a:lnSpc>
          <a:spcBef>
            <a:spcPct val="0"/>
          </a:spcBef>
          <a:spcAft>
            <a:spcPct val="0"/>
          </a:spcAft>
          <a:buClr>
            <a:schemeClr val="accent1"/>
          </a:buClr>
          <a:buSzPct val="50000"/>
          <a:buFont typeface="Monotype Sorts" pitchFamily="2" charset="2"/>
          <a:buNone/>
          <a:tabLst/>
          <a:defRPr kumimoji="1" lang="en-US" sz="1400" b="1" i="0" u="sng" strike="noStrike" cap="none" normalizeH="0" baseline="0" smtClean="0">
            <a:ln>
              <a:noFill/>
            </a:ln>
            <a:solidFill>
              <a:schemeClr val="tx1"/>
            </a:solidFill>
            <a:effectLst/>
            <a:latin typeface="맑은 고딕" pitchFamily="50" charset="-127"/>
            <a:ea typeface="맑은 고딕" pitchFamily="50" charset="-127"/>
          </a:defRPr>
        </a:defPPr>
      </a:lstStyle>
    </a:spDef>
    <a:lnDef>
      <a:spPr bwMode="auto">
        <a:xfrm>
          <a:off x="0" y="0"/>
          <a:ext cx="1" cy="1"/>
        </a:xfrm>
        <a:custGeom>
          <a:avLst/>
          <a:gdLst/>
          <a:ahLst/>
          <a:cxnLst/>
          <a:rect l="0" t="0" r="0" b="0"/>
          <a:pathLst/>
        </a:custGeom>
        <a:solidFill>
          <a:schemeClr val="accent1"/>
        </a:solidFill>
        <a:ln w="3175" cap="rnd" cmpd="sng" algn="ctr">
          <a:solidFill>
            <a:schemeClr val="tx1"/>
          </a:solidFill>
          <a:prstDash val="sysDot"/>
          <a:round/>
          <a:headEnd type="none" w="med" len="med"/>
          <a:tailEnd type="triangle" w="med" len="med"/>
        </a:ln>
        <a:effectLst/>
      </a:spPr>
      <a:bodyPr vert="horz" wrap="square" lIns="90000" tIns="46800" rIns="90000" bIns="46800" numCol="1" anchor="t" anchorCtr="0" compatLnSpc="1">
        <a:prstTxWarp prst="textNoShape">
          <a:avLst/>
        </a:prstTxWarp>
      </a:bodyPr>
      <a:lstStyle>
        <a:defPPr marL="0" marR="0" indent="0" algn="ctr" defTabSz="914400" rtl="0" eaLnBrk="1" fontAlgn="base" latinLnBrk="0" hangingPunct="0">
          <a:lnSpc>
            <a:spcPct val="100000"/>
          </a:lnSpc>
          <a:spcBef>
            <a:spcPct val="0"/>
          </a:spcBef>
          <a:spcAft>
            <a:spcPct val="0"/>
          </a:spcAft>
          <a:buClr>
            <a:schemeClr val="accent1"/>
          </a:buClr>
          <a:buSzPct val="50000"/>
          <a:buFont typeface="Monotype Sorts" pitchFamily="2" charset="2"/>
          <a:buNone/>
          <a:tabLst/>
          <a:defRPr kumimoji="1" lang="en-US" sz="1400" b="1" i="0" u="sng" strike="noStrike" cap="none" normalizeH="0" baseline="0" smtClean="0">
            <a:ln>
              <a:noFill/>
            </a:ln>
            <a:solidFill>
              <a:schemeClr val="tx1"/>
            </a:solidFill>
            <a:effectLst/>
            <a:latin typeface="맑은 고딕" pitchFamily="50" charset="-127"/>
            <a:ea typeface="맑은 고딕" pitchFamily="50" charset="-127"/>
          </a:defRPr>
        </a:defPPr>
      </a:lstStyle>
    </a:lnDef>
  </a:objectDefaults>
  <a:extraClrSchemeLst>
    <a:extraClrScheme>
      <a:clrScheme name="Posco_통합구매 파트너십 제안서_20091007_v0.1 1">
        <a:dk1>
          <a:srgbClr val="000000"/>
        </a:dk1>
        <a:lt1>
          <a:srgbClr val="FFFFFF"/>
        </a:lt1>
        <a:dk2>
          <a:srgbClr val="7889FB"/>
        </a:dk2>
        <a:lt2>
          <a:srgbClr val="808080"/>
        </a:lt2>
        <a:accent1>
          <a:srgbClr val="7889FB"/>
        </a:accent1>
        <a:accent2>
          <a:srgbClr val="2DB6B3"/>
        </a:accent2>
        <a:accent3>
          <a:srgbClr val="FFFFFF"/>
        </a:accent3>
        <a:accent4>
          <a:srgbClr val="000000"/>
        </a:accent4>
        <a:accent5>
          <a:srgbClr val="BEC4FD"/>
        </a:accent5>
        <a:accent6>
          <a:srgbClr val="28A5A2"/>
        </a:accent6>
        <a:hlink>
          <a:srgbClr val="C0C0C0"/>
        </a:hlink>
        <a:folHlink>
          <a:srgbClr val="D18213"/>
        </a:folHlink>
      </a:clrScheme>
      <a:clrMap bg1="lt1" tx1="dk1" bg2="lt2" tx2="dk2" accent1="accent1" accent2="accent2" accent3="accent3" accent4="accent4" accent5="accent5" accent6="accent6" hlink="hlink" folHlink="folHlink"/>
    </a:extraClrScheme>
    <a:extraClrScheme>
      <a:clrScheme name="Posco_통합구매 파트너십 제안서_20091007_v0.1 2">
        <a:dk1>
          <a:srgbClr val="808080"/>
        </a:dk1>
        <a:lt1>
          <a:srgbClr val="FFFFFF"/>
        </a:lt1>
        <a:dk2>
          <a:srgbClr val="000000"/>
        </a:dk2>
        <a:lt2>
          <a:srgbClr val="CCCCFF"/>
        </a:lt2>
        <a:accent1>
          <a:srgbClr val="7889FB"/>
        </a:accent1>
        <a:accent2>
          <a:srgbClr val="DFFF66"/>
        </a:accent2>
        <a:accent3>
          <a:srgbClr val="AAAAAA"/>
        </a:accent3>
        <a:accent4>
          <a:srgbClr val="DADADA"/>
        </a:accent4>
        <a:accent5>
          <a:srgbClr val="BEC4FD"/>
        </a:accent5>
        <a:accent6>
          <a:srgbClr val="CAE75C"/>
        </a:accent6>
        <a:hlink>
          <a:srgbClr val="C0C0C0"/>
        </a:hlink>
        <a:folHlink>
          <a:srgbClr val="D18213"/>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Light Background">
  <a:themeElements>
    <a:clrScheme name="2018">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Color Block">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bg2"/>
            </a:solidFill>
            <a:latin typeface="IBM Plex Sans" charset="0"/>
            <a:ea typeface="IBM Plex Sans" charset="0"/>
            <a:cs typeface="IBM Plex Sans" charset="0"/>
          </a:defRPr>
        </a:defPPr>
      </a:lstStyle>
    </a:txDef>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Dark Background">
  <a:themeElements>
    <a:clrScheme name="Custom 47">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1269FB"/>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bg2"/>
            </a:solidFill>
            <a:latin typeface="IBM Plex Sans" charset="0"/>
            <a:ea typeface="IBM Plex Sans" charset="0"/>
            <a:cs typeface="IBM Plex Sans" charset="0"/>
          </a:defRPr>
        </a:defPPr>
      </a:lstStyle>
    </a:txDef>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COVERS">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bg2"/>
            </a:solidFill>
            <a:latin typeface="IBM Plex Sans" charset="0"/>
            <a:ea typeface="IBM Plex Sans" charset="0"/>
            <a:cs typeface="IBM Plex Sans" charset="0"/>
          </a:defRPr>
        </a:defPPr>
      </a:lstStyle>
    </a:txDef>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41774</TotalTime>
  <Words>2463</Words>
  <Application>Microsoft Office PowerPoint</Application>
  <PresentationFormat>A4 용지(210x297mm)</PresentationFormat>
  <Paragraphs>491</Paragraphs>
  <Slides>35</Slides>
  <Notes>11</Notes>
  <HiddenSlides>0</HiddenSlides>
  <MMClips>0</MMClips>
  <ScaleCrop>false</ScaleCrop>
  <HeadingPairs>
    <vt:vector size="4" baseType="variant">
      <vt:variant>
        <vt:lpstr>테마</vt:lpstr>
      </vt:variant>
      <vt:variant>
        <vt:i4>6</vt:i4>
      </vt:variant>
      <vt:variant>
        <vt:lpstr>슬라이드 제목</vt:lpstr>
      </vt:variant>
      <vt:variant>
        <vt:i4>35</vt:i4>
      </vt:variant>
    </vt:vector>
  </HeadingPairs>
  <TitlesOfParts>
    <vt:vector size="41" baseType="lpstr">
      <vt:lpstr>GPS Korea Sales 2013</vt:lpstr>
      <vt:lpstr>WFIS End</vt:lpstr>
      <vt:lpstr>3_Light Background</vt:lpstr>
      <vt:lpstr>4_Color Block</vt:lpstr>
      <vt:lpstr>5_Dark Background</vt:lpstr>
      <vt:lpstr>6_COVERS</vt:lpstr>
      <vt:lpstr>NFT GGanbu Platform 깐부는 니꺼 내꺼 없어</vt:lpstr>
      <vt:lpstr>Authors</vt:lpstr>
      <vt:lpstr>Services</vt:lpstr>
      <vt:lpstr>개요, 목적 등은 향후에..</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vector>
  </TitlesOfParts>
  <Company>IB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document title is Arial,  32-point bold. IBM standard  is blue, but black can be used</dc:title>
  <dc:creator>PJ Hamlen</dc:creator>
  <cp:lastModifiedBy>박지헌</cp:lastModifiedBy>
  <cp:revision>4234</cp:revision>
  <cp:lastPrinted>2015-06-10T01:51:13Z</cp:lastPrinted>
  <dcterms:created xsi:type="dcterms:W3CDTF">2010-06-04T16:28:28Z</dcterms:created>
  <dcterms:modified xsi:type="dcterms:W3CDTF">2022-01-05T03:58:07Z</dcterms:modified>
</cp:coreProperties>
</file>